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>
  <p:sldMasterIdLst>
    <p:sldMasterId id="2147483693" r:id="rId1"/>
  </p:sldMasterIdLst>
  <p:notesMasterIdLst>
    <p:notesMasterId r:id="rId25"/>
  </p:notesMasterIdLst>
  <p:handoutMasterIdLst>
    <p:handoutMasterId r:id="rId26"/>
  </p:handoutMasterIdLst>
  <p:sldIdLst>
    <p:sldId id="430" r:id="rId2"/>
    <p:sldId id="431" r:id="rId3"/>
    <p:sldId id="311" r:id="rId4"/>
    <p:sldId id="443" r:id="rId5"/>
    <p:sldId id="440" r:id="rId6"/>
    <p:sldId id="449" r:id="rId7"/>
    <p:sldId id="450" r:id="rId8"/>
    <p:sldId id="451" r:id="rId9"/>
    <p:sldId id="441" r:id="rId10"/>
    <p:sldId id="452" r:id="rId11"/>
    <p:sldId id="439" r:id="rId12"/>
    <p:sldId id="442" r:id="rId13"/>
    <p:sldId id="433" r:id="rId14"/>
    <p:sldId id="434" r:id="rId15"/>
    <p:sldId id="435" r:id="rId16"/>
    <p:sldId id="438" r:id="rId17"/>
    <p:sldId id="436" r:id="rId18"/>
    <p:sldId id="437" r:id="rId19"/>
    <p:sldId id="453" r:id="rId20"/>
    <p:sldId id="445" r:id="rId21"/>
    <p:sldId id="446" r:id="rId22"/>
    <p:sldId id="447" r:id="rId23"/>
    <p:sldId id="429" r:id="rId24"/>
  </p:sldIdLst>
  <p:sldSz cx="12192000" cy="6858000"/>
  <p:notesSz cx="6858000" cy="9144000"/>
  <p:custDataLst>
    <p:tags r:id="rId27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50F3C"/>
    <a:srgbClr val="04316A"/>
    <a:srgbClr val="041E42"/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3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5559946C-DD83-4361-9F0D-6F0382AAE1DC}" v="4" dt="2022-12-18T16:38:01.668"/>
    <p1510:client id="{6F885342-16A4-4DE2-9CFD-CF43A29B316C}" v="467" dt="2022-12-19T15:41:09.606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DF18680-E054-41AD-8BC1-D1AEF772440D}" styleName="Mittlere Formatvorlage 2 - Akz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F5AB1C69-6EDB-4FF4-983F-18BD219EF322}" styleName="Mittlere Formatvorlage 2 - Akz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525" autoAdjust="0"/>
    <p:restoredTop sz="93557" autoAdjust="0"/>
  </p:normalViewPr>
  <p:slideViewPr>
    <p:cSldViewPr snapToGrid="0" showGuides="1">
      <p:cViewPr varScale="1">
        <p:scale>
          <a:sx n="114" d="100"/>
          <a:sy n="114" d="100"/>
        </p:scale>
        <p:origin x="498" y="102"/>
      </p:cViewPr>
      <p:guideLst/>
    </p:cSldViewPr>
  </p:slideViewPr>
  <p:outlineViewPr>
    <p:cViewPr>
      <p:scale>
        <a:sx n="33" d="100"/>
        <a:sy n="33" d="100"/>
      </p:scale>
      <p:origin x="0" y="-5972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150" d="100"/>
        <a:sy n="150" d="100"/>
      </p:scale>
      <p:origin x="0" y="-20898"/>
    </p:cViewPr>
  </p:sorterViewPr>
  <p:notesViewPr>
    <p:cSldViewPr snapToGrid="0" showGuides="1">
      <p:cViewPr varScale="1">
        <p:scale>
          <a:sx n="80" d="100"/>
          <a:sy n="80" d="100"/>
        </p:scale>
        <p:origin x="3918" y="10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handoutMaster" Target="handoutMasters/handoutMaster1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microsoft.com/office/2015/10/relationships/revisionInfo" Target="revisionInfo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tags" Target="tags/tag1.xml"/><Relationship Id="rId30" Type="http://schemas.openxmlformats.org/officeDocument/2006/relationships/theme" Target="theme/theme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0_3">
  <dgm:title val=""/>
  <dgm:desc val=""/>
  <dgm:catLst>
    <dgm:cat type="mainScheme" pri="10300"/>
  </dgm:catLst>
  <dgm:styleLbl name="node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lignNode1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ln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vennNode1">
    <dgm:fillClrLst meth="repeat">
      <a:schemeClr val="dk2">
        <a:alpha val="50000"/>
      </a:schemeClr>
    </dgm:fillClrLst>
    <dgm:linClrLst meth="repeat">
      <a:schemeClr val="lt2"/>
    </dgm:linClrLst>
    <dgm:effectClrLst/>
    <dgm:txLinClrLst/>
    <dgm:txFillClrLst/>
    <dgm:txEffectClrLst/>
  </dgm:styleLbl>
  <dgm:styleLbl name="node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fgImgPlace1">
    <dgm:fillClrLst meth="repeat">
      <a:schemeClr val="dk2">
        <a:tint val="50000"/>
      </a:schemeClr>
    </dgm:fillClrLst>
    <dgm:linClrLst meth="repeat">
      <a:schemeClr val="lt2"/>
    </dgm:linClrLst>
    <dgm:effectClrLst/>
    <dgm:txLinClrLst/>
    <dgm:txFillClrLst meth="repeat">
      <a:schemeClr val="lt2"/>
    </dgm:txFillClrLst>
    <dgm:txEffectClrLst/>
  </dgm:styleLbl>
  <dgm:styleLbl name="align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bg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callout">
    <dgm:fillClrLst meth="repeat">
      <a:schemeClr val="dk2"/>
    </dgm:fillClrLst>
    <dgm:linClrLst meth="repeat">
      <a:schemeClr val="dk2">
        <a:tint val="50000"/>
      </a:schemeClr>
    </dgm:linClrLst>
    <dgm:effectClrLst/>
    <dgm:txLinClrLst/>
    <dgm:txFillClrLst meth="repeat">
      <a:schemeClr val="lt2"/>
    </dgm:txFillClrLst>
    <dgm:txEffectClrLst/>
  </dgm:styleLbl>
  <dgm:styleLbl name="asst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lt2"/>
    </dgm:txFillClrLst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2">
        <a:alpha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2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2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0_3">
  <dgm:title val=""/>
  <dgm:desc val=""/>
  <dgm:catLst>
    <dgm:cat type="mainScheme" pri="10300"/>
  </dgm:catLst>
  <dgm:styleLbl name="node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lignNode1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ln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vennNode1">
    <dgm:fillClrLst meth="repeat">
      <a:schemeClr val="dk2">
        <a:alpha val="50000"/>
      </a:schemeClr>
    </dgm:fillClrLst>
    <dgm:linClrLst meth="repeat">
      <a:schemeClr val="lt2"/>
    </dgm:linClrLst>
    <dgm:effectClrLst/>
    <dgm:txLinClrLst/>
    <dgm:txFillClrLst/>
    <dgm:txEffectClrLst/>
  </dgm:styleLbl>
  <dgm:styleLbl name="node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fgImgPlace1">
    <dgm:fillClrLst meth="repeat">
      <a:schemeClr val="dk2">
        <a:tint val="50000"/>
      </a:schemeClr>
    </dgm:fillClrLst>
    <dgm:linClrLst meth="repeat">
      <a:schemeClr val="lt2"/>
    </dgm:linClrLst>
    <dgm:effectClrLst/>
    <dgm:txLinClrLst/>
    <dgm:txFillClrLst meth="repeat">
      <a:schemeClr val="lt2"/>
    </dgm:txFillClrLst>
    <dgm:txEffectClrLst/>
  </dgm:styleLbl>
  <dgm:styleLbl name="align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bg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callout">
    <dgm:fillClrLst meth="repeat">
      <a:schemeClr val="dk2"/>
    </dgm:fillClrLst>
    <dgm:linClrLst meth="repeat">
      <a:schemeClr val="dk2">
        <a:tint val="50000"/>
      </a:schemeClr>
    </dgm:linClrLst>
    <dgm:effectClrLst/>
    <dgm:txLinClrLst/>
    <dgm:txFillClrLst meth="repeat">
      <a:schemeClr val="lt2"/>
    </dgm:txFillClrLst>
    <dgm:txEffectClrLst/>
  </dgm:styleLbl>
  <dgm:styleLbl name="asst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lt2"/>
    </dgm:txFillClrLst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2">
        <a:alpha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2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2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0_3">
  <dgm:title val=""/>
  <dgm:desc val=""/>
  <dgm:catLst>
    <dgm:cat type="mainScheme" pri="10300"/>
  </dgm:catLst>
  <dgm:styleLbl name="node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lignNode1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ln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vennNode1">
    <dgm:fillClrLst meth="repeat">
      <a:schemeClr val="dk2">
        <a:alpha val="50000"/>
      </a:schemeClr>
    </dgm:fillClrLst>
    <dgm:linClrLst meth="repeat">
      <a:schemeClr val="lt2"/>
    </dgm:linClrLst>
    <dgm:effectClrLst/>
    <dgm:txLinClrLst/>
    <dgm:txFillClrLst/>
    <dgm:txEffectClrLst/>
  </dgm:styleLbl>
  <dgm:styleLbl name="node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fgImgPlace1">
    <dgm:fillClrLst meth="repeat">
      <a:schemeClr val="dk2">
        <a:tint val="50000"/>
      </a:schemeClr>
    </dgm:fillClrLst>
    <dgm:linClrLst meth="repeat">
      <a:schemeClr val="lt2"/>
    </dgm:linClrLst>
    <dgm:effectClrLst/>
    <dgm:txLinClrLst/>
    <dgm:txFillClrLst meth="repeat">
      <a:schemeClr val="lt2"/>
    </dgm:txFillClrLst>
    <dgm:txEffectClrLst/>
  </dgm:styleLbl>
  <dgm:styleLbl name="align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bg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callout">
    <dgm:fillClrLst meth="repeat">
      <a:schemeClr val="dk2"/>
    </dgm:fillClrLst>
    <dgm:linClrLst meth="repeat">
      <a:schemeClr val="dk2">
        <a:tint val="50000"/>
      </a:schemeClr>
    </dgm:linClrLst>
    <dgm:effectClrLst/>
    <dgm:txLinClrLst/>
    <dgm:txFillClrLst meth="repeat">
      <a:schemeClr val="lt2"/>
    </dgm:txFillClrLst>
    <dgm:txEffectClrLst/>
  </dgm:styleLbl>
  <dgm:styleLbl name="asst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lt2"/>
    </dgm:txFillClrLst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2">
        <a:alpha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2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2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F2FB7DA9-0403-4D49-A5D7-975EBB22D481}" type="doc">
      <dgm:prSet loTypeId="urn:microsoft.com/office/officeart/2008/layout/VerticalCurvedList" loCatId="list" qsTypeId="urn:microsoft.com/office/officeart/2005/8/quickstyle/simple1" qsCatId="simple" csTypeId="urn:microsoft.com/office/officeart/2005/8/colors/accent0_3" csCatId="mainScheme" phldr="1"/>
      <dgm:spPr/>
      <dgm:t>
        <a:bodyPr/>
        <a:lstStyle/>
        <a:p>
          <a:endParaRPr lang="de-DE"/>
        </a:p>
      </dgm:t>
    </dgm:pt>
    <dgm:pt modelId="{0B89B432-3256-478C-98C0-62B5537472DF}">
      <dgm:prSet phldrT="[Text]" custT="1"/>
      <dgm:spPr>
        <a:solidFill>
          <a:srgbClr val="C50F3C"/>
        </a:solidFill>
      </dgm:spPr>
      <dgm:t>
        <a:bodyPr/>
        <a:lstStyle/>
        <a:p>
          <a:pPr>
            <a:buFontTx/>
            <a:buChar char="-"/>
          </a:pPr>
          <a:r>
            <a:rPr lang="de-DE" sz="2000" dirty="0">
              <a:latin typeface="Arial"/>
            </a:rPr>
            <a:t>Datensätze sind direkt oder indirekt durch Menschen erschaffen</a:t>
          </a:r>
          <a:endParaRPr lang="de-DE" sz="2000" dirty="0"/>
        </a:p>
      </dgm:t>
    </dgm:pt>
    <dgm:pt modelId="{8926D1FC-3269-4364-9D4E-289E4C0781A4}" type="parTrans" cxnId="{B6090288-44D2-41D0-AA3A-EFD04CB6259D}">
      <dgm:prSet/>
      <dgm:spPr/>
      <dgm:t>
        <a:bodyPr/>
        <a:lstStyle/>
        <a:p>
          <a:endParaRPr lang="de-DE"/>
        </a:p>
      </dgm:t>
    </dgm:pt>
    <dgm:pt modelId="{B5A774E1-3964-46FB-8E45-B43B6569A44D}" type="sibTrans" cxnId="{B6090288-44D2-41D0-AA3A-EFD04CB6259D}">
      <dgm:prSet/>
      <dgm:spPr/>
      <dgm:t>
        <a:bodyPr/>
        <a:lstStyle/>
        <a:p>
          <a:endParaRPr lang="de-DE"/>
        </a:p>
      </dgm:t>
    </dgm:pt>
    <dgm:pt modelId="{0ED67823-0F6A-48F4-8BB1-1EB796240DBF}">
      <dgm:prSet custT="1"/>
      <dgm:spPr>
        <a:solidFill>
          <a:srgbClr val="C50F3C"/>
        </a:solidFill>
      </dgm:spPr>
      <dgm:t>
        <a:bodyPr/>
        <a:lstStyle/>
        <a:p>
          <a:r>
            <a:rPr lang="de-DE" sz="2000">
              <a:latin typeface="Arial"/>
            </a:rPr>
            <a:t>Menschliche Vorurteile werden auf den Datensatz übertragen</a:t>
          </a:r>
          <a:endParaRPr lang="de-DE" sz="2000" dirty="0">
            <a:latin typeface="Arial"/>
          </a:endParaRPr>
        </a:p>
      </dgm:t>
    </dgm:pt>
    <dgm:pt modelId="{7C3CBA07-BE69-42BA-AE9D-725CBAA7611F}" type="parTrans" cxnId="{C33AD871-07BF-4AB9-A09E-DF2E72CE4960}">
      <dgm:prSet/>
      <dgm:spPr/>
      <dgm:t>
        <a:bodyPr/>
        <a:lstStyle/>
        <a:p>
          <a:endParaRPr lang="de-DE"/>
        </a:p>
      </dgm:t>
    </dgm:pt>
    <dgm:pt modelId="{8ADFF31B-9ACC-4A27-A913-224658E5F200}" type="sibTrans" cxnId="{C33AD871-07BF-4AB9-A09E-DF2E72CE4960}">
      <dgm:prSet/>
      <dgm:spPr/>
      <dgm:t>
        <a:bodyPr/>
        <a:lstStyle/>
        <a:p>
          <a:endParaRPr lang="de-DE"/>
        </a:p>
      </dgm:t>
    </dgm:pt>
    <dgm:pt modelId="{1CDDDBDB-70C1-40FD-820F-5D938CBB1ADE}">
      <dgm:prSet custT="1"/>
      <dgm:spPr>
        <a:solidFill>
          <a:srgbClr val="C50F3C"/>
        </a:solidFill>
      </dgm:spPr>
      <dgm:t>
        <a:bodyPr/>
        <a:lstStyle/>
        <a:p>
          <a:r>
            <a:rPr lang="de-DE" sz="2000">
              <a:latin typeface="Arial"/>
            </a:rPr>
            <a:t>Machine Learning Algorithmen lernen Verzerrungen mit</a:t>
          </a:r>
          <a:endParaRPr lang="de-DE" sz="2000" dirty="0">
            <a:latin typeface="Arial"/>
          </a:endParaRPr>
        </a:p>
      </dgm:t>
    </dgm:pt>
    <dgm:pt modelId="{BDB6C645-A671-407C-9C7E-2D52B3AEEDC3}" type="parTrans" cxnId="{1B826828-0DAA-4916-B4FC-8C58DEBA2AA5}">
      <dgm:prSet/>
      <dgm:spPr/>
      <dgm:t>
        <a:bodyPr/>
        <a:lstStyle/>
        <a:p>
          <a:endParaRPr lang="de-DE"/>
        </a:p>
      </dgm:t>
    </dgm:pt>
    <dgm:pt modelId="{65BCBA97-90F8-4814-A1AE-FA32DB3FAED6}" type="sibTrans" cxnId="{1B826828-0DAA-4916-B4FC-8C58DEBA2AA5}">
      <dgm:prSet/>
      <dgm:spPr/>
      <dgm:t>
        <a:bodyPr/>
        <a:lstStyle/>
        <a:p>
          <a:endParaRPr lang="de-DE"/>
        </a:p>
      </dgm:t>
    </dgm:pt>
    <dgm:pt modelId="{0A546FBB-89EC-49F2-A94D-320B73E7B423}">
      <dgm:prSet custT="1"/>
      <dgm:spPr>
        <a:solidFill>
          <a:srgbClr val="C50F3C"/>
        </a:solidFill>
      </dgm:spPr>
      <dgm:t>
        <a:bodyPr/>
        <a:lstStyle/>
        <a:p>
          <a:r>
            <a:rPr lang="de-DE" sz="2000">
              <a:latin typeface="Arial"/>
            </a:rPr>
            <a:t>Ungleiche Behandlung von verschiedenen Menschengruppen</a:t>
          </a:r>
          <a:endParaRPr lang="de-DE" sz="2000" dirty="0">
            <a:latin typeface="Arial"/>
          </a:endParaRPr>
        </a:p>
      </dgm:t>
    </dgm:pt>
    <dgm:pt modelId="{6FD1C85A-C0C5-4ACC-924C-11281334F02F}" type="parTrans" cxnId="{10CED803-7E99-43D4-9EE4-B73E537978C5}">
      <dgm:prSet/>
      <dgm:spPr/>
      <dgm:t>
        <a:bodyPr/>
        <a:lstStyle/>
        <a:p>
          <a:endParaRPr lang="de-DE"/>
        </a:p>
      </dgm:t>
    </dgm:pt>
    <dgm:pt modelId="{EFC49216-4A61-430D-9D9A-47CA9BE04C37}" type="sibTrans" cxnId="{10CED803-7E99-43D4-9EE4-B73E537978C5}">
      <dgm:prSet/>
      <dgm:spPr/>
      <dgm:t>
        <a:bodyPr/>
        <a:lstStyle/>
        <a:p>
          <a:endParaRPr lang="de-DE"/>
        </a:p>
      </dgm:t>
    </dgm:pt>
    <dgm:pt modelId="{507EBF64-B6AD-49BF-A85A-FAF1831F1E6A}" type="pres">
      <dgm:prSet presAssocID="{F2FB7DA9-0403-4D49-A5D7-975EBB22D481}" presName="Name0" presStyleCnt="0">
        <dgm:presLayoutVars>
          <dgm:chMax val="7"/>
          <dgm:chPref val="7"/>
          <dgm:dir/>
        </dgm:presLayoutVars>
      </dgm:prSet>
      <dgm:spPr/>
    </dgm:pt>
    <dgm:pt modelId="{5D500FE2-E537-4EED-95A8-A65B953CD802}" type="pres">
      <dgm:prSet presAssocID="{F2FB7DA9-0403-4D49-A5D7-975EBB22D481}" presName="Name1" presStyleCnt="0"/>
      <dgm:spPr/>
    </dgm:pt>
    <dgm:pt modelId="{B3F7232A-0789-4429-9068-1750D366B484}" type="pres">
      <dgm:prSet presAssocID="{F2FB7DA9-0403-4D49-A5D7-975EBB22D481}" presName="cycle" presStyleCnt="0"/>
      <dgm:spPr/>
    </dgm:pt>
    <dgm:pt modelId="{C8923EBD-7D84-478D-8799-F4411EE86485}" type="pres">
      <dgm:prSet presAssocID="{F2FB7DA9-0403-4D49-A5D7-975EBB22D481}" presName="srcNode" presStyleLbl="node1" presStyleIdx="0" presStyleCnt="4"/>
      <dgm:spPr/>
    </dgm:pt>
    <dgm:pt modelId="{DBE8A212-EAD6-4BCD-9271-CA3420115383}" type="pres">
      <dgm:prSet presAssocID="{F2FB7DA9-0403-4D49-A5D7-975EBB22D481}" presName="conn" presStyleLbl="parChTrans1D2" presStyleIdx="0" presStyleCnt="1"/>
      <dgm:spPr/>
    </dgm:pt>
    <dgm:pt modelId="{D2CBFFCF-5EC0-4FB9-B584-6FAC1AF39C4B}" type="pres">
      <dgm:prSet presAssocID="{F2FB7DA9-0403-4D49-A5D7-975EBB22D481}" presName="extraNode" presStyleLbl="node1" presStyleIdx="0" presStyleCnt="4"/>
      <dgm:spPr/>
    </dgm:pt>
    <dgm:pt modelId="{4F6B605D-C3F3-4B25-8CA9-B30462698698}" type="pres">
      <dgm:prSet presAssocID="{F2FB7DA9-0403-4D49-A5D7-975EBB22D481}" presName="dstNode" presStyleLbl="node1" presStyleIdx="0" presStyleCnt="4"/>
      <dgm:spPr/>
    </dgm:pt>
    <dgm:pt modelId="{D1694879-04E8-4E58-88EE-0586A625FEB8}" type="pres">
      <dgm:prSet presAssocID="{0B89B432-3256-478C-98C0-62B5537472DF}" presName="text_1" presStyleLbl="node1" presStyleIdx="0" presStyleCnt="4">
        <dgm:presLayoutVars>
          <dgm:bulletEnabled val="1"/>
        </dgm:presLayoutVars>
      </dgm:prSet>
      <dgm:spPr/>
    </dgm:pt>
    <dgm:pt modelId="{259DAE50-FB4A-4C63-9BDF-3D428CF82625}" type="pres">
      <dgm:prSet presAssocID="{0B89B432-3256-478C-98C0-62B5537472DF}" presName="accent_1" presStyleCnt="0"/>
      <dgm:spPr/>
    </dgm:pt>
    <dgm:pt modelId="{D64A3C50-2AE5-42EF-9283-9C3500124E46}" type="pres">
      <dgm:prSet presAssocID="{0B89B432-3256-478C-98C0-62B5537472DF}" presName="accentRepeatNode" presStyleLbl="solidFgAcc1" presStyleIdx="0" presStyleCnt="4"/>
      <dgm:spPr/>
    </dgm:pt>
    <dgm:pt modelId="{E3A08E2A-814F-4313-8D0C-62A097E3A421}" type="pres">
      <dgm:prSet presAssocID="{0ED67823-0F6A-48F4-8BB1-1EB796240DBF}" presName="text_2" presStyleLbl="node1" presStyleIdx="1" presStyleCnt="4">
        <dgm:presLayoutVars>
          <dgm:bulletEnabled val="1"/>
        </dgm:presLayoutVars>
      </dgm:prSet>
      <dgm:spPr/>
    </dgm:pt>
    <dgm:pt modelId="{011D53C1-4E70-4512-8C91-0D83ED5CB04C}" type="pres">
      <dgm:prSet presAssocID="{0ED67823-0F6A-48F4-8BB1-1EB796240DBF}" presName="accent_2" presStyleCnt="0"/>
      <dgm:spPr/>
    </dgm:pt>
    <dgm:pt modelId="{BBF2B971-E176-4E77-A162-53C741C273DB}" type="pres">
      <dgm:prSet presAssocID="{0ED67823-0F6A-48F4-8BB1-1EB796240DBF}" presName="accentRepeatNode" presStyleLbl="solidFgAcc1" presStyleIdx="1" presStyleCnt="4"/>
      <dgm:spPr/>
    </dgm:pt>
    <dgm:pt modelId="{050800A1-5204-4F46-9E09-5CEA3F62486E}" type="pres">
      <dgm:prSet presAssocID="{1CDDDBDB-70C1-40FD-820F-5D938CBB1ADE}" presName="text_3" presStyleLbl="node1" presStyleIdx="2" presStyleCnt="4">
        <dgm:presLayoutVars>
          <dgm:bulletEnabled val="1"/>
        </dgm:presLayoutVars>
      </dgm:prSet>
      <dgm:spPr/>
    </dgm:pt>
    <dgm:pt modelId="{55A3595C-68BE-4617-A565-178F8124A1AD}" type="pres">
      <dgm:prSet presAssocID="{1CDDDBDB-70C1-40FD-820F-5D938CBB1ADE}" presName="accent_3" presStyleCnt="0"/>
      <dgm:spPr/>
    </dgm:pt>
    <dgm:pt modelId="{0525F844-532F-439E-83B4-A67A2AEEEBE9}" type="pres">
      <dgm:prSet presAssocID="{1CDDDBDB-70C1-40FD-820F-5D938CBB1ADE}" presName="accentRepeatNode" presStyleLbl="solidFgAcc1" presStyleIdx="2" presStyleCnt="4"/>
      <dgm:spPr/>
    </dgm:pt>
    <dgm:pt modelId="{058B7F2E-938E-4287-B2FC-6378ACD6D7B6}" type="pres">
      <dgm:prSet presAssocID="{0A546FBB-89EC-49F2-A94D-320B73E7B423}" presName="text_4" presStyleLbl="node1" presStyleIdx="3" presStyleCnt="4">
        <dgm:presLayoutVars>
          <dgm:bulletEnabled val="1"/>
        </dgm:presLayoutVars>
      </dgm:prSet>
      <dgm:spPr/>
    </dgm:pt>
    <dgm:pt modelId="{55221FAF-C41C-47FA-B27A-6076FE8A5ABE}" type="pres">
      <dgm:prSet presAssocID="{0A546FBB-89EC-49F2-A94D-320B73E7B423}" presName="accent_4" presStyleCnt="0"/>
      <dgm:spPr/>
    </dgm:pt>
    <dgm:pt modelId="{9362C62A-42A6-4696-9C07-CB68237BB528}" type="pres">
      <dgm:prSet presAssocID="{0A546FBB-89EC-49F2-A94D-320B73E7B423}" presName="accentRepeatNode" presStyleLbl="solidFgAcc1" presStyleIdx="3" presStyleCnt="4"/>
      <dgm:spPr/>
    </dgm:pt>
  </dgm:ptLst>
  <dgm:cxnLst>
    <dgm:cxn modelId="{10CED803-7E99-43D4-9EE4-B73E537978C5}" srcId="{F2FB7DA9-0403-4D49-A5D7-975EBB22D481}" destId="{0A546FBB-89EC-49F2-A94D-320B73E7B423}" srcOrd="3" destOrd="0" parTransId="{6FD1C85A-C0C5-4ACC-924C-11281334F02F}" sibTransId="{EFC49216-4A61-430D-9D9A-47CA9BE04C37}"/>
    <dgm:cxn modelId="{1B826828-0DAA-4916-B4FC-8C58DEBA2AA5}" srcId="{F2FB7DA9-0403-4D49-A5D7-975EBB22D481}" destId="{1CDDDBDB-70C1-40FD-820F-5D938CBB1ADE}" srcOrd="2" destOrd="0" parTransId="{BDB6C645-A671-407C-9C7E-2D52B3AEEDC3}" sibTransId="{65BCBA97-90F8-4814-A1AE-FA32DB3FAED6}"/>
    <dgm:cxn modelId="{C33AD871-07BF-4AB9-A09E-DF2E72CE4960}" srcId="{F2FB7DA9-0403-4D49-A5D7-975EBB22D481}" destId="{0ED67823-0F6A-48F4-8BB1-1EB796240DBF}" srcOrd="1" destOrd="0" parTransId="{7C3CBA07-BE69-42BA-AE9D-725CBAA7611F}" sibTransId="{8ADFF31B-9ACC-4A27-A913-224658E5F200}"/>
    <dgm:cxn modelId="{B6090288-44D2-41D0-AA3A-EFD04CB6259D}" srcId="{F2FB7DA9-0403-4D49-A5D7-975EBB22D481}" destId="{0B89B432-3256-478C-98C0-62B5537472DF}" srcOrd="0" destOrd="0" parTransId="{8926D1FC-3269-4364-9D4E-289E4C0781A4}" sibTransId="{B5A774E1-3964-46FB-8E45-B43B6569A44D}"/>
    <dgm:cxn modelId="{C72CA098-F231-4EF0-9597-6016B3069408}" type="presOf" srcId="{0ED67823-0F6A-48F4-8BB1-1EB796240DBF}" destId="{E3A08E2A-814F-4313-8D0C-62A097E3A421}" srcOrd="0" destOrd="0" presId="urn:microsoft.com/office/officeart/2008/layout/VerticalCurvedList"/>
    <dgm:cxn modelId="{4A021999-C263-4A92-A80C-7393E83B9E4A}" type="presOf" srcId="{0B89B432-3256-478C-98C0-62B5537472DF}" destId="{D1694879-04E8-4E58-88EE-0586A625FEB8}" srcOrd="0" destOrd="0" presId="urn:microsoft.com/office/officeart/2008/layout/VerticalCurvedList"/>
    <dgm:cxn modelId="{4C4788A5-C137-4840-BAE8-F0D92C09887B}" type="presOf" srcId="{0A546FBB-89EC-49F2-A94D-320B73E7B423}" destId="{058B7F2E-938E-4287-B2FC-6378ACD6D7B6}" srcOrd="0" destOrd="0" presId="urn:microsoft.com/office/officeart/2008/layout/VerticalCurvedList"/>
    <dgm:cxn modelId="{FDFFDCB8-6413-4FCA-AD29-A771D06C2B51}" type="presOf" srcId="{1CDDDBDB-70C1-40FD-820F-5D938CBB1ADE}" destId="{050800A1-5204-4F46-9E09-5CEA3F62486E}" srcOrd="0" destOrd="0" presId="urn:microsoft.com/office/officeart/2008/layout/VerticalCurvedList"/>
    <dgm:cxn modelId="{8C20B6C2-BF89-4134-8444-814AECC5438A}" type="presOf" srcId="{B5A774E1-3964-46FB-8E45-B43B6569A44D}" destId="{DBE8A212-EAD6-4BCD-9271-CA3420115383}" srcOrd="0" destOrd="0" presId="urn:microsoft.com/office/officeart/2008/layout/VerticalCurvedList"/>
    <dgm:cxn modelId="{A26B46EC-A4B6-494A-B1FD-6927D16885D2}" type="presOf" srcId="{F2FB7DA9-0403-4D49-A5D7-975EBB22D481}" destId="{507EBF64-B6AD-49BF-A85A-FAF1831F1E6A}" srcOrd="0" destOrd="0" presId="urn:microsoft.com/office/officeart/2008/layout/VerticalCurvedList"/>
    <dgm:cxn modelId="{D1EE281C-A60C-4F72-BF25-D5D0EBFCB88C}" type="presParOf" srcId="{507EBF64-B6AD-49BF-A85A-FAF1831F1E6A}" destId="{5D500FE2-E537-4EED-95A8-A65B953CD802}" srcOrd="0" destOrd="0" presId="urn:microsoft.com/office/officeart/2008/layout/VerticalCurvedList"/>
    <dgm:cxn modelId="{970801CE-AAC9-41EA-A100-31DCB7E0361C}" type="presParOf" srcId="{5D500FE2-E537-4EED-95A8-A65B953CD802}" destId="{B3F7232A-0789-4429-9068-1750D366B484}" srcOrd="0" destOrd="0" presId="urn:microsoft.com/office/officeart/2008/layout/VerticalCurvedList"/>
    <dgm:cxn modelId="{FF0D15ED-74CB-421D-AF70-491C7455C9F7}" type="presParOf" srcId="{B3F7232A-0789-4429-9068-1750D366B484}" destId="{C8923EBD-7D84-478D-8799-F4411EE86485}" srcOrd="0" destOrd="0" presId="urn:microsoft.com/office/officeart/2008/layout/VerticalCurvedList"/>
    <dgm:cxn modelId="{DAB9AD7F-B67F-48BE-86DE-5365CF37A863}" type="presParOf" srcId="{B3F7232A-0789-4429-9068-1750D366B484}" destId="{DBE8A212-EAD6-4BCD-9271-CA3420115383}" srcOrd="1" destOrd="0" presId="urn:microsoft.com/office/officeart/2008/layout/VerticalCurvedList"/>
    <dgm:cxn modelId="{502B31EB-BC1E-43CD-B877-EE3D1755D149}" type="presParOf" srcId="{B3F7232A-0789-4429-9068-1750D366B484}" destId="{D2CBFFCF-5EC0-4FB9-B584-6FAC1AF39C4B}" srcOrd="2" destOrd="0" presId="urn:microsoft.com/office/officeart/2008/layout/VerticalCurvedList"/>
    <dgm:cxn modelId="{5A1610E9-9686-4852-8966-874AB3B9AB09}" type="presParOf" srcId="{B3F7232A-0789-4429-9068-1750D366B484}" destId="{4F6B605D-C3F3-4B25-8CA9-B30462698698}" srcOrd="3" destOrd="0" presId="urn:microsoft.com/office/officeart/2008/layout/VerticalCurvedList"/>
    <dgm:cxn modelId="{81B0821F-9EE6-4AB4-BF78-08C1A0B3530C}" type="presParOf" srcId="{5D500FE2-E537-4EED-95A8-A65B953CD802}" destId="{D1694879-04E8-4E58-88EE-0586A625FEB8}" srcOrd="1" destOrd="0" presId="urn:microsoft.com/office/officeart/2008/layout/VerticalCurvedList"/>
    <dgm:cxn modelId="{C518D283-5039-4BE4-B758-FAB6CD135230}" type="presParOf" srcId="{5D500FE2-E537-4EED-95A8-A65B953CD802}" destId="{259DAE50-FB4A-4C63-9BDF-3D428CF82625}" srcOrd="2" destOrd="0" presId="urn:microsoft.com/office/officeart/2008/layout/VerticalCurvedList"/>
    <dgm:cxn modelId="{3B886B6F-7221-4B6E-80B6-71A7A00B3E43}" type="presParOf" srcId="{259DAE50-FB4A-4C63-9BDF-3D428CF82625}" destId="{D64A3C50-2AE5-42EF-9283-9C3500124E46}" srcOrd="0" destOrd="0" presId="urn:microsoft.com/office/officeart/2008/layout/VerticalCurvedList"/>
    <dgm:cxn modelId="{4E53D12B-7881-4530-B75D-2B61B9A716FB}" type="presParOf" srcId="{5D500FE2-E537-4EED-95A8-A65B953CD802}" destId="{E3A08E2A-814F-4313-8D0C-62A097E3A421}" srcOrd="3" destOrd="0" presId="urn:microsoft.com/office/officeart/2008/layout/VerticalCurvedList"/>
    <dgm:cxn modelId="{49D21F54-0DF7-4331-ADF9-82F0D44249AD}" type="presParOf" srcId="{5D500FE2-E537-4EED-95A8-A65B953CD802}" destId="{011D53C1-4E70-4512-8C91-0D83ED5CB04C}" srcOrd="4" destOrd="0" presId="urn:microsoft.com/office/officeart/2008/layout/VerticalCurvedList"/>
    <dgm:cxn modelId="{4C3D5ADA-349B-4D3D-B586-CB068B163D50}" type="presParOf" srcId="{011D53C1-4E70-4512-8C91-0D83ED5CB04C}" destId="{BBF2B971-E176-4E77-A162-53C741C273DB}" srcOrd="0" destOrd="0" presId="urn:microsoft.com/office/officeart/2008/layout/VerticalCurvedList"/>
    <dgm:cxn modelId="{100BD071-E6E7-4C7F-8078-55E29BA13C55}" type="presParOf" srcId="{5D500FE2-E537-4EED-95A8-A65B953CD802}" destId="{050800A1-5204-4F46-9E09-5CEA3F62486E}" srcOrd="5" destOrd="0" presId="urn:microsoft.com/office/officeart/2008/layout/VerticalCurvedList"/>
    <dgm:cxn modelId="{A2983383-770C-4592-9224-8B382C5FCC87}" type="presParOf" srcId="{5D500FE2-E537-4EED-95A8-A65B953CD802}" destId="{55A3595C-68BE-4617-A565-178F8124A1AD}" srcOrd="6" destOrd="0" presId="urn:microsoft.com/office/officeart/2008/layout/VerticalCurvedList"/>
    <dgm:cxn modelId="{1C3EAF92-23F9-4EC1-980C-A1E029825384}" type="presParOf" srcId="{55A3595C-68BE-4617-A565-178F8124A1AD}" destId="{0525F844-532F-439E-83B4-A67A2AEEEBE9}" srcOrd="0" destOrd="0" presId="urn:microsoft.com/office/officeart/2008/layout/VerticalCurvedList"/>
    <dgm:cxn modelId="{604ABF97-3A74-4F2D-8553-F5CB6EF78A29}" type="presParOf" srcId="{5D500FE2-E537-4EED-95A8-A65B953CD802}" destId="{058B7F2E-938E-4287-B2FC-6378ACD6D7B6}" srcOrd="7" destOrd="0" presId="urn:microsoft.com/office/officeart/2008/layout/VerticalCurvedList"/>
    <dgm:cxn modelId="{6A31DE8E-737B-44F4-BB10-5DF6E74C23BF}" type="presParOf" srcId="{5D500FE2-E537-4EED-95A8-A65B953CD802}" destId="{55221FAF-C41C-47FA-B27A-6076FE8A5ABE}" srcOrd="8" destOrd="0" presId="urn:microsoft.com/office/officeart/2008/layout/VerticalCurvedList"/>
    <dgm:cxn modelId="{935EDF87-A9C6-49A9-9F24-9D53823FE113}" type="presParOf" srcId="{55221FAF-C41C-47FA-B27A-6076FE8A5ABE}" destId="{9362C62A-42A6-4696-9C07-CB68237BB528}" srcOrd="0" destOrd="0" presId="urn:microsoft.com/office/officeart/2008/layout/VerticalCurvedLis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87A98656-67AE-442D-9A5C-074A48062257}" type="doc">
      <dgm:prSet loTypeId="urn:microsoft.com/office/officeart/2005/8/layout/vList2" loCatId="list" qsTypeId="urn:microsoft.com/office/officeart/2005/8/quickstyle/simple1" qsCatId="simple" csTypeId="urn:microsoft.com/office/officeart/2005/8/colors/accent0_3" csCatId="mainScheme" phldr="1"/>
      <dgm:spPr/>
      <dgm:t>
        <a:bodyPr/>
        <a:lstStyle/>
        <a:p>
          <a:endParaRPr lang="de-DE"/>
        </a:p>
      </dgm:t>
    </dgm:pt>
    <dgm:pt modelId="{3FC219D5-36C6-4D29-9147-F31D579B2979}">
      <dgm:prSet phldrT="[Text]"/>
      <dgm:spPr/>
      <dgm:t>
        <a:bodyPr/>
        <a:lstStyle/>
        <a:p>
          <a:r>
            <a:rPr lang="de-DE" dirty="0"/>
            <a:t>Datensatzart</a:t>
          </a:r>
        </a:p>
      </dgm:t>
    </dgm:pt>
    <dgm:pt modelId="{C4A017E9-E9AD-4224-B7FC-F97FE35DEA1A}" type="parTrans" cxnId="{F11F0867-59EB-4712-9DB0-A58CA5630E75}">
      <dgm:prSet/>
      <dgm:spPr/>
      <dgm:t>
        <a:bodyPr/>
        <a:lstStyle/>
        <a:p>
          <a:endParaRPr lang="de-DE"/>
        </a:p>
      </dgm:t>
    </dgm:pt>
    <dgm:pt modelId="{D1537584-1495-4907-87E3-FEA9A220DA1C}" type="sibTrans" cxnId="{F11F0867-59EB-4712-9DB0-A58CA5630E75}">
      <dgm:prSet/>
      <dgm:spPr/>
      <dgm:t>
        <a:bodyPr/>
        <a:lstStyle/>
        <a:p>
          <a:endParaRPr lang="de-DE"/>
        </a:p>
      </dgm:t>
    </dgm:pt>
    <dgm:pt modelId="{D06018F6-42D5-4F3B-A02C-840A6F1EAC96}">
      <dgm:prSet phldrT="[Text]"/>
      <dgm:spPr/>
      <dgm:t>
        <a:bodyPr/>
        <a:lstStyle/>
        <a:p>
          <a:r>
            <a:rPr lang="de-DE" dirty="0"/>
            <a:t>Tabellarisch</a:t>
          </a:r>
        </a:p>
      </dgm:t>
    </dgm:pt>
    <dgm:pt modelId="{81AA950F-825D-4139-BEA7-B9F266072C04}" type="parTrans" cxnId="{B759E33D-CEAE-4828-948C-7FC8E33FD382}">
      <dgm:prSet/>
      <dgm:spPr/>
      <dgm:t>
        <a:bodyPr/>
        <a:lstStyle/>
        <a:p>
          <a:endParaRPr lang="de-DE"/>
        </a:p>
      </dgm:t>
    </dgm:pt>
    <dgm:pt modelId="{E7AF2BFF-7D3F-42D4-8AEE-EEFB6E163F10}" type="sibTrans" cxnId="{B759E33D-CEAE-4828-948C-7FC8E33FD382}">
      <dgm:prSet/>
      <dgm:spPr/>
      <dgm:t>
        <a:bodyPr/>
        <a:lstStyle/>
        <a:p>
          <a:endParaRPr lang="de-DE"/>
        </a:p>
      </dgm:t>
    </dgm:pt>
    <dgm:pt modelId="{9E8D9C5B-409B-49FB-88A6-1E96D8F2B9D7}">
      <dgm:prSet phldrT="[Text]"/>
      <dgm:spPr/>
      <dgm:t>
        <a:bodyPr/>
        <a:lstStyle/>
        <a:p>
          <a:r>
            <a:rPr lang="de-DE" dirty="0"/>
            <a:t>Nicht konkret</a:t>
          </a:r>
        </a:p>
      </dgm:t>
    </dgm:pt>
    <dgm:pt modelId="{91922C7A-7DDC-452B-8CA6-2A63EB80B4F9}" type="parTrans" cxnId="{96D886E6-8890-4052-8941-8A9AC9E144F1}">
      <dgm:prSet/>
      <dgm:spPr/>
      <dgm:t>
        <a:bodyPr/>
        <a:lstStyle/>
        <a:p>
          <a:endParaRPr lang="de-DE"/>
        </a:p>
      </dgm:t>
    </dgm:pt>
    <dgm:pt modelId="{96C3D2C6-0682-4173-831A-C36E1A14E53A}" type="sibTrans" cxnId="{96D886E6-8890-4052-8941-8A9AC9E144F1}">
      <dgm:prSet/>
      <dgm:spPr/>
      <dgm:t>
        <a:bodyPr/>
        <a:lstStyle/>
        <a:p>
          <a:endParaRPr lang="de-DE"/>
        </a:p>
      </dgm:t>
    </dgm:pt>
    <dgm:pt modelId="{934BA7DA-09DE-4BEB-9A23-5A98B0836BB0}">
      <dgm:prSet phldrT="[Text]"/>
      <dgm:spPr/>
      <dgm:t>
        <a:bodyPr/>
        <a:lstStyle/>
        <a:p>
          <a:r>
            <a:rPr lang="de-DE" dirty="0"/>
            <a:t>Methoden</a:t>
          </a:r>
        </a:p>
      </dgm:t>
    </dgm:pt>
    <dgm:pt modelId="{91237A01-09DC-449C-B7CE-6DA4927A997F}" type="parTrans" cxnId="{2B9ADBBB-2848-45A0-9947-F68E36944440}">
      <dgm:prSet/>
      <dgm:spPr/>
      <dgm:t>
        <a:bodyPr/>
        <a:lstStyle/>
        <a:p>
          <a:endParaRPr lang="de-DE"/>
        </a:p>
      </dgm:t>
    </dgm:pt>
    <dgm:pt modelId="{3C6B61C7-BFF4-4198-8801-4164D6F447B6}" type="sibTrans" cxnId="{2B9ADBBB-2848-45A0-9947-F68E36944440}">
      <dgm:prSet/>
      <dgm:spPr/>
      <dgm:t>
        <a:bodyPr/>
        <a:lstStyle/>
        <a:p>
          <a:endParaRPr lang="de-DE"/>
        </a:p>
      </dgm:t>
    </dgm:pt>
    <dgm:pt modelId="{F33186A5-E036-4DC6-805E-49EBBE4588D1}">
      <dgm:prSet phldrT="[Text]"/>
      <dgm:spPr/>
      <dgm:t>
        <a:bodyPr/>
        <a:lstStyle/>
        <a:p>
          <a:r>
            <a:rPr lang="de-DE" dirty="0"/>
            <a:t>Berechnungen</a:t>
          </a:r>
        </a:p>
      </dgm:t>
    </dgm:pt>
    <dgm:pt modelId="{FAD6D367-C790-45D4-ACDE-0A2CF8748F7C}" type="parTrans" cxnId="{FE28A1F6-85E6-4229-8EFD-8F83105A8E9C}">
      <dgm:prSet/>
      <dgm:spPr/>
      <dgm:t>
        <a:bodyPr/>
        <a:lstStyle/>
        <a:p>
          <a:endParaRPr lang="de-DE"/>
        </a:p>
      </dgm:t>
    </dgm:pt>
    <dgm:pt modelId="{A3B38D20-4439-4020-83EC-982CDF8693AF}" type="sibTrans" cxnId="{FE28A1F6-85E6-4229-8EFD-8F83105A8E9C}">
      <dgm:prSet/>
      <dgm:spPr/>
      <dgm:t>
        <a:bodyPr/>
        <a:lstStyle/>
        <a:p>
          <a:endParaRPr lang="de-DE"/>
        </a:p>
      </dgm:t>
    </dgm:pt>
    <dgm:pt modelId="{4CDDD3C5-0301-42AF-8D8E-B13C821A28CB}">
      <dgm:prSet phldrT="[Text]"/>
      <dgm:spPr/>
      <dgm:t>
        <a:bodyPr/>
        <a:lstStyle/>
        <a:p>
          <a:r>
            <a:rPr lang="de-DE" dirty="0"/>
            <a:t>(Pseudo-)Code</a:t>
          </a:r>
        </a:p>
      </dgm:t>
    </dgm:pt>
    <dgm:pt modelId="{1B577DCF-0C79-4B1B-BFB8-13D6E9745B17}" type="parTrans" cxnId="{710E43E9-EC43-4257-A396-5720998FEF7B}">
      <dgm:prSet/>
      <dgm:spPr/>
      <dgm:t>
        <a:bodyPr/>
        <a:lstStyle/>
        <a:p>
          <a:endParaRPr lang="de-DE"/>
        </a:p>
      </dgm:t>
    </dgm:pt>
    <dgm:pt modelId="{751C62BE-673D-49DA-9430-B76AB1C52355}" type="sibTrans" cxnId="{710E43E9-EC43-4257-A396-5720998FEF7B}">
      <dgm:prSet/>
      <dgm:spPr/>
      <dgm:t>
        <a:bodyPr/>
        <a:lstStyle/>
        <a:p>
          <a:endParaRPr lang="de-DE"/>
        </a:p>
      </dgm:t>
    </dgm:pt>
    <dgm:pt modelId="{A6A9F76A-71E4-4A15-9E87-7F75D75B93AA}">
      <dgm:prSet phldrT="[Text]"/>
      <dgm:spPr/>
      <dgm:t>
        <a:bodyPr/>
        <a:lstStyle/>
        <a:p>
          <a:r>
            <a:rPr lang="de-DE" dirty="0"/>
            <a:t>Ansätze</a:t>
          </a:r>
        </a:p>
      </dgm:t>
    </dgm:pt>
    <dgm:pt modelId="{80524295-3BF2-46CB-BC6A-630F4F063FF7}" type="parTrans" cxnId="{BB0D304A-6FC1-469E-A6E0-F4D9699221DE}">
      <dgm:prSet/>
      <dgm:spPr/>
      <dgm:t>
        <a:bodyPr/>
        <a:lstStyle/>
        <a:p>
          <a:endParaRPr lang="de-DE"/>
        </a:p>
      </dgm:t>
    </dgm:pt>
    <dgm:pt modelId="{B08AC38F-4895-4DDD-AD85-472ACAEEA76D}" type="sibTrans" cxnId="{BB0D304A-6FC1-469E-A6E0-F4D9699221DE}">
      <dgm:prSet/>
      <dgm:spPr/>
      <dgm:t>
        <a:bodyPr/>
        <a:lstStyle/>
        <a:p>
          <a:endParaRPr lang="de-DE"/>
        </a:p>
      </dgm:t>
    </dgm:pt>
    <dgm:pt modelId="{1B9389F6-23AE-49A8-B257-9AC2493BA7DA}">
      <dgm:prSet phldrT="[Text]"/>
      <dgm:spPr/>
      <dgm:t>
        <a:bodyPr/>
        <a:lstStyle/>
        <a:p>
          <a:r>
            <a:rPr lang="de-DE" dirty="0"/>
            <a:t>Forschungsfrage</a:t>
          </a:r>
        </a:p>
      </dgm:t>
    </dgm:pt>
    <dgm:pt modelId="{E0AB5000-E03C-41A0-89FB-10BDB997AAF2}" type="parTrans" cxnId="{04A865BE-A27C-4073-9648-F9ADAAAAB0FF}">
      <dgm:prSet/>
      <dgm:spPr/>
      <dgm:t>
        <a:bodyPr/>
        <a:lstStyle/>
        <a:p>
          <a:endParaRPr lang="de-DE"/>
        </a:p>
      </dgm:t>
    </dgm:pt>
    <dgm:pt modelId="{8FFC00F5-667D-441B-AC0A-2B01AA29FDB8}" type="sibTrans" cxnId="{04A865BE-A27C-4073-9648-F9ADAAAAB0FF}">
      <dgm:prSet/>
      <dgm:spPr/>
      <dgm:t>
        <a:bodyPr/>
        <a:lstStyle/>
        <a:p>
          <a:endParaRPr lang="de-DE"/>
        </a:p>
      </dgm:t>
    </dgm:pt>
    <dgm:pt modelId="{1A5EC2BB-6C58-4428-8283-E9E718E8028C}">
      <dgm:prSet phldrT="[Text]"/>
      <dgm:spPr/>
      <dgm:t>
        <a:bodyPr/>
        <a:lstStyle/>
        <a:p>
          <a:r>
            <a:rPr kumimoji="0" lang="de-DE" b="0" i="0" u="none" strike="noStrike" cap="none" spc="0" normalizeH="0" baseline="0" noProof="0" dirty="0">
              <a:ln/>
              <a:effectLst/>
              <a:uLnTx/>
              <a:uFillTx/>
              <a:latin typeface="Arial"/>
              <a:ea typeface="+mn-ea"/>
              <a:cs typeface="+mn-cs"/>
            </a:rPr>
            <a:t>„Ermittlung von Verzerrungen (Bias) und Quellen potenzieller Diskriminierung in tabellarischen Datensätzen“</a:t>
          </a:r>
          <a:endParaRPr lang="de-DE" dirty="0"/>
        </a:p>
      </dgm:t>
    </dgm:pt>
    <dgm:pt modelId="{44B68EC2-3DB1-46C1-84DC-5979F9FD2CFC}" type="parTrans" cxnId="{25C7D213-13E7-4973-82EA-CDB59ED2E7F9}">
      <dgm:prSet/>
      <dgm:spPr/>
      <dgm:t>
        <a:bodyPr/>
        <a:lstStyle/>
        <a:p>
          <a:endParaRPr lang="de-DE"/>
        </a:p>
      </dgm:t>
    </dgm:pt>
    <dgm:pt modelId="{C5E799A0-F29A-4A54-8807-CBEEE28BC358}" type="sibTrans" cxnId="{25C7D213-13E7-4973-82EA-CDB59ED2E7F9}">
      <dgm:prSet/>
      <dgm:spPr/>
      <dgm:t>
        <a:bodyPr/>
        <a:lstStyle/>
        <a:p>
          <a:endParaRPr lang="de-DE"/>
        </a:p>
      </dgm:t>
    </dgm:pt>
    <dgm:pt modelId="{4159C49C-D974-4E2A-AB5D-D838049258A5}">
      <dgm:prSet phldrT="[Text]"/>
      <dgm:spPr/>
      <dgm:t>
        <a:bodyPr/>
        <a:lstStyle/>
        <a:p>
          <a:r>
            <a:rPr lang="de-DE" dirty="0" err="1"/>
            <a:t>Biasumgang</a:t>
          </a:r>
          <a:endParaRPr lang="de-DE" dirty="0"/>
        </a:p>
      </dgm:t>
    </dgm:pt>
    <dgm:pt modelId="{37A535E4-6779-48D8-94EB-A34D616F7DC3}" type="parTrans" cxnId="{C117C769-67D8-4AAE-B940-FAD196882681}">
      <dgm:prSet/>
      <dgm:spPr/>
      <dgm:t>
        <a:bodyPr/>
        <a:lstStyle/>
        <a:p>
          <a:endParaRPr lang="de-DE"/>
        </a:p>
      </dgm:t>
    </dgm:pt>
    <dgm:pt modelId="{0C240677-E6F2-4473-A9A2-BE93F002E112}" type="sibTrans" cxnId="{C117C769-67D8-4AAE-B940-FAD196882681}">
      <dgm:prSet/>
      <dgm:spPr/>
      <dgm:t>
        <a:bodyPr/>
        <a:lstStyle/>
        <a:p>
          <a:endParaRPr lang="de-DE"/>
        </a:p>
      </dgm:t>
    </dgm:pt>
    <dgm:pt modelId="{82952D24-6991-4B0D-8A81-C3B35BA74A4A}">
      <dgm:prSet phldrT="[Text]"/>
      <dgm:spPr/>
      <dgm:t>
        <a:bodyPr/>
        <a:lstStyle/>
        <a:p>
          <a:r>
            <a:rPr lang="de-DE" dirty="0"/>
            <a:t>Eliminierung</a:t>
          </a:r>
        </a:p>
      </dgm:t>
    </dgm:pt>
    <dgm:pt modelId="{80B68F74-6E88-46B1-A878-5461A8EA4AB1}" type="parTrans" cxnId="{31200810-D5A9-42BA-9E9E-D8FC278DE77C}">
      <dgm:prSet/>
      <dgm:spPr/>
      <dgm:t>
        <a:bodyPr/>
        <a:lstStyle/>
        <a:p>
          <a:endParaRPr lang="de-DE"/>
        </a:p>
      </dgm:t>
    </dgm:pt>
    <dgm:pt modelId="{139848D7-65CF-406A-9343-ABC065DA7944}" type="sibTrans" cxnId="{31200810-D5A9-42BA-9E9E-D8FC278DE77C}">
      <dgm:prSet/>
      <dgm:spPr/>
      <dgm:t>
        <a:bodyPr/>
        <a:lstStyle/>
        <a:p>
          <a:endParaRPr lang="de-DE"/>
        </a:p>
      </dgm:t>
    </dgm:pt>
    <dgm:pt modelId="{E1F9CA9A-B875-40F0-A49B-A9DDAC27AB92}">
      <dgm:prSet phldrT="[Text]"/>
      <dgm:spPr/>
      <dgm:t>
        <a:bodyPr/>
        <a:lstStyle/>
        <a:p>
          <a:r>
            <a:rPr lang="de-DE" dirty="0"/>
            <a:t>Minderung</a:t>
          </a:r>
        </a:p>
      </dgm:t>
    </dgm:pt>
    <dgm:pt modelId="{6E065C5D-1140-46FB-8204-45B8120C46D2}" type="parTrans" cxnId="{C640B556-9B58-4D7D-A50A-BC917B21A68E}">
      <dgm:prSet/>
      <dgm:spPr/>
      <dgm:t>
        <a:bodyPr/>
        <a:lstStyle/>
        <a:p>
          <a:endParaRPr lang="de-DE"/>
        </a:p>
      </dgm:t>
    </dgm:pt>
    <dgm:pt modelId="{2E290B67-3B89-4866-83C7-367C1802019D}" type="sibTrans" cxnId="{C640B556-9B58-4D7D-A50A-BC917B21A68E}">
      <dgm:prSet/>
      <dgm:spPr/>
      <dgm:t>
        <a:bodyPr/>
        <a:lstStyle/>
        <a:p>
          <a:endParaRPr lang="de-DE"/>
        </a:p>
      </dgm:t>
    </dgm:pt>
    <dgm:pt modelId="{4A8A3B1F-FB3D-4DAF-96F1-8A3B15695F7C}">
      <dgm:prSet phldrT="[Text]"/>
      <dgm:spPr/>
      <dgm:t>
        <a:bodyPr/>
        <a:lstStyle/>
        <a:p>
          <a:r>
            <a:rPr lang="de-DE" dirty="0"/>
            <a:t>Bestimmung</a:t>
          </a:r>
        </a:p>
      </dgm:t>
    </dgm:pt>
    <dgm:pt modelId="{F9CBBD50-234A-4F80-A915-89B8B467CC16}" type="parTrans" cxnId="{00115AFE-38F5-4DE1-BCFC-64276AC4B446}">
      <dgm:prSet/>
      <dgm:spPr/>
      <dgm:t>
        <a:bodyPr/>
        <a:lstStyle/>
        <a:p>
          <a:endParaRPr lang="de-DE"/>
        </a:p>
      </dgm:t>
    </dgm:pt>
    <dgm:pt modelId="{56122E87-779D-421A-9739-3E517DA63629}" type="sibTrans" cxnId="{00115AFE-38F5-4DE1-BCFC-64276AC4B446}">
      <dgm:prSet/>
      <dgm:spPr/>
      <dgm:t>
        <a:bodyPr/>
        <a:lstStyle/>
        <a:p>
          <a:endParaRPr lang="de-DE"/>
        </a:p>
      </dgm:t>
    </dgm:pt>
    <dgm:pt modelId="{571D769B-41DB-4112-A21C-546E6F52B178}">
      <dgm:prSet phldrT="[Text]"/>
      <dgm:spPr/>
      <dgm:t>
        <a:bodyPr/>
        <a:lstStyle/>
        <a:p>
          <a:r>
            <a:rPr lang="de-DE" dirty="0"/>
            <a:t>Findung</a:t>
          </a:r>
        </a:p>
      </dgm:t>
    </dgm:pt>
    <dgm:pt modelId="{F195137E-AFAB-41D1-8FEF-0F6B22C14C3E}" type="parTrans" cxnId="{81C4BDC8-D2D6-46D8-BD49-9D4016ADDD95}">
      <dgm:prSet/>
      <dgm:spPr/>
      <dgm:t>
        <a:bodyPr/>
        <a:lstStyle/>
        <a:p>
          <a:endParaRPr lang="de-DE"/>
        </a:p>
      </dgm:t>
    </dgm:pt>
    <dgm:pt modelId="{88EB697D-DE0F-472D-B373-79CF2FBFEC43}" type="sibTrans" cxnId="{81C4BDC8-D2D6-46D8-BD49-9D4016ADDD95}">
      <dgm:prSet/>
      <dgm:spPr/>
      <dgm:t>
        <a:bodyPr/>
        <a:lstStyle/>
        <a:p>
          <a:endParaRPr lang="de-DE"/>
        </a:p>
      </dgm:t>
    </dgm:pt>
    <dgm:pt modelId="{5436245F-BE67-4F65-915C-8F483857E933}" type="pres">
      <dgm:prSet presAssocID="{87A98656-67AE-442D-9A5C-074A48062257}" presName="linear" presStyleCnt="0">
        <dgm:presLayoutVars>
          <dgm:animLvl val="lvl"/>
          <dgm:resizeHandles val="exact"/>
        </dgm:presLayoutVars>
      </dgm:prSet>
      <dgm:spPr/>
    </dgm:pt>
    <dgm:pt modelId="{8F244945-30F2-442E-99B5-0E6BFD9112D6}" type="pres">
      <dgm:prSet presAssocID="{3FC219D5-36C6-4D29-9147-F31D579B2979}" presName="parentText" presStyleLbl="node1" presStyleIdx="0" presStyleCnt="4" custLinFactNeighborY="2489">
        <dgm:presLayoutVars>
          <dgm:chMax val="0"/>
          <dgm:bulletEnabled val="1"/>
        </dgm:presLayoutVars>
      </dgm:prSet>
      <dgm:spPr/>
    </dgm:pt>
    <dgm:pt modelId="{A03A1B87-6FD7-4E7F-A923-9D1211FF7B21}" type="pres">
      <dgm:prSet presAssocID="{3FC219D5-36C6-4D29-9147-F31D579B2979}" presName="childText" presStyleLbl="revTx" presStyleIdx="0" presStyleCnt="4" custLinFactNeighborY="9267">
        <dgm:presLayoutVars>
          <dgm:bulletEnabled val="1"/>
        </dgm:presLayoutVars>
      </dgm:prSet>
      <dgm:spPr/>
    </dgm:pt>
    <dgm:pt modelId="{62DDB0FC-6E1B-4D97-87A2-88E062C2D652}" type="pres">
      <dgm:prSet presAssocID="{4159C49C-D974-4E2A-AB5D-D838049258A5}" presName="parentText" presStyleLbl="node1" presStyleIdx="1" presStyleCnt="4" custLinFactNeighborY="804">
        <dgm:presLayoutVars>
          <dgm:chMax val="0"/>
          <dgm:bulletEnabled val="1"/>
        </dgm:presLayoutVars>
      </dgm:prSet>
      <dgm:spPr/>
    </dgm:pt>
    <dgm:pt modelId="{1E4D186B-628A-4E01-A210-578940BA839A}" type="pres">
      <dgm:prSet presAssocID="{4159C49C-D974-4E2A-AB5D-D838049258A5}" presName="childText" presStyleLbl="revTx" presStyleIdx="1" presStyleCnt="4">
        <dgm:presLayoutVars>
          <dgm:bulletEnabled val="1"/>
        </dgm:presLayoutVars>
      </dgm:prSet>
      <dgm:spPr/>
    </dgm:pt>
    <dgm:pt modelId="{CB0C1EB8-E656-471F-93BB-D99A38F9A6E6}" type="pres">
      <dgm:prSet presAssocID="{934BA7DA-09DE-4BEB-9A23-5A98B0836BB0}" presName="parentText" presStyleLbl="node1" presStyleIdx="2" presStyleCnt="4" custLinFactNeighborY="-4640">
        <dgm:presLayoutVars>
          <dgm:chMax val="0"/>
          <dgm:bulletEnabled val="1"/>
        </dgm:presLayoutVars>
      </dgm:prSet>
      <dgm:spPr/>
    </dgm:pt>
    <dgm:pt modelId="{A39E1E06-812B-4F63-B86D-892075F7A0E6}" type="pres">
      <dgm:prSet presAssocID="{934BA7DA-09DE-4BEB-9A23-5A98B0836BB0}" presName="childText" presStyleLbl="revTx" presStyleIdx="2" presStyleCnt="4" custLinFactNeighborY="-11053">
        <dgm:presLayoutVars>
          <dgm:bulletEnabled val="1"/>
        </dgm:presLayoutVars>
      </dgm:prSet>
      <dgm:spPr/>
    </dgm:pt>
    <dgm:pt modelId="{17C17339-F648-4484-8B8B-DD6DE4797979}" type="pres">
      <dgm:prSet presAssocID="{1B9389F6-23AE-49A8-B257-9AC2493BA7DA}" presName="parentText" presStyleLbl="node1" presStyleIdx="3" presStyleCnt="4" custLinFactNeighborY="-10250">
        <dgm:presLayoutVars>
          <dgm:chMax val="0"/>
          <dgm:bulletEnabled val="1"/>
        </dgm:presLayoutVars>
      </dgm:prSet>
      <dgm:spPr/>
    </dgm:pt>
    <dgm:pt modelId="{59718E81-0315-4E70-A8A3-5506A202C03A}" type="pres">
      <dgm:prSet presAssocID="{1B9389F6-23AE-49A8-B257-9AC2493BA7DA}" presName="childText" presStyleLbl="revTx" presStyleIdx="3" presStyleCnt="4" custScaleY="77384" custLinFactNeighborY="-6519">
        <dgm:presLayoutVars>
          <dgm:bulletEnabled val="1"/>
        </dgm:presLayoutVars>
      </dgm:prSet>
      <dgm:spPr/>
    </dgm:pt>
  </dgm:ptLst>
  <dgm:cxnLst>
    <dgm:cxn modelId="{D61B9205-7120-40F2-A4D9-D371471921FC}" type="presOf" srcId="{E1F9CA9A-B875-40F0-A49B-A9DDAC27AB92}" destId="{1E4D186B-628A-4E01-A210-578940BA839A}" srcOrd="0" destOrd="1" presId="urn:microsoft.com/office/officeart/2005/8/layout/vList2"/>
    <dgm:cxn modelId="{A2C09709-79D0-43BF-A9B8-E24C1E7E9E4E}" type="presOf" srcId="{9E8D9C5B-409B-49FB-88A6-1E96D8F2B9D7}" destId="{A03A1B87-6FD7-4E7F-A923-9D1211FF7B21}" srcOrd="0" destOrd="1" presId="urn:microsoft.com/office/officeart/2005/8/layout/vList2"/>
    <dgm:cxn modelId="{31200810-D5A9-42BA-9E9E-D8FC278DE77C}" srcId="{4159C49C-D974-4E2A-AB5D-D838049258A5}" destId="{82952D24-6991-4B0D-8A81-C3B35BA74A4A}" srcOrd="0" destOrd="0" parTransId="{80B68F74-6E88-46B1-A878-5461A8EA4AB1}" sibTransId="{139848D7-65CF-406A-9343-ABC065DA7944}"/>
    <dgm:cxn modelId="{DA3C9313-2353-4BFF-81C9-B00492C960D6}" type="presOf" srcId="{82952D24-6991-4B0D-8A81-C3B35BA74A4A}" destId="{1E4D186B-628A-4E01-A210-578940BA839A}" srcOrd="0" destOrd="0" presId="urn:microsoft.com/office/officeart/2005/8/layout/vList2"/>
    <dgm:cxn modelId="{25C7D213-13E7-4973-82EA-CDB59ED2E7F9}" srcId="{1B9389F6-23AE-49A8-B257-9AC2493BA7DA}" destId="{1A5EC2BB-6C58-4428-8283-E9E718E8028C}" srcOrd="0" destOrd="0" parTransId="{44B68EC2-3DB1-46C1-84DC-5979F9FD2CFC}" sibTransId="{C5E799A0-F29A-4A54-8807-CBEEE28BC358}"/>
    <dgm:cxn modelId="{AEBB1C1A-39FF-4467-9E18-51D0D2D11647}" type="presOf" srcId="{F33186A5-E036-4DC6-805E-49EBBE4588D1}" destId="{A39E1E06-812B-4F63-B86D-892075F7A0E6}" srcOrd="0" destOrd="0" presId="urn:microsoft.com/office/officeart/2005/8/layout/vList2"/>
    <dgm:cxn modelId="{FF06903A-EA07-4253-8985-F783725DEAF3}" type="presOf" srcId="{1B9389F6-23AE-49A8-B257-9AC2493BA7DA}" destId="{17C17339-F648-4484-8B8B-DD6DE4797979}" srcOrd="0" destOrd="0" presId="urn:microsoft.com/office/officeart/2005/8/layout/vList2"/>
    <dgm:cxn modelId="{B759E33D-CEAE-4828-948C-7FC8E33FD382}" srcId="{3FC219D5-36C6-4D29-9147-F31D579B2979}" destId="{D06018F6-42D5-4F3B-A02C-840A6F1EAC96}" srcOrd="0" destOrd="0" parTransId="{81AA950F-825D-4139-BEA7-B9F266072C04}" sibTransId="{E7AF2BFF-7D3F-42D4-8AEE-EEFB6E163F10}"/>
    <dgm:cxn modelId="{AC25D93F-6BAF-4E41-905B-28390B495560}" type="presOf" srcId="{4159C49C-D974-4E2A-AB5D-D838049258A5}" destId="{62DDB0FC-6E1B-4D97-87A2-88E062C2D652}" srcOrd="0" destOrd="0" presId="urn:microsoft.com/office/officeart/2005/8/layout/vList2"/>
    <dgm:cxn modelId="{71C7885C-64E1-4285-BB4E-EC6CC1F4E78C}" type="presOf" srcId="{3FC219D5-36C6-4D29-9147-F31D579B2979}" destId="{8F244945-30F2-442E-99B5-0E6BFD9112D6}" srcOrd="0" destOrd="0" presId="urn:microsoft.com/office/officeart/2005/8/layout/vList2"/>
    <dgm:cxn modelId="{43076563-26E0-43A8-B75A-C13665AB035D}" type="presOf" srcId="{1A5EC2BB-6C58-4428-8283-E9E718E8028C}" destId="{59718E81-0315-4E70-A8A3-5506A202C03A}" srcOrd="0" destOrd="0" presId="urn:microsoft.com/office/officeart/2005/8/layout/vList2"/>
    <dgm:cxn modelId="{565BBA64-5F46-4899-81D2-C334A80C3867}" type="presOf" srcId="{571D769B-41DB-4112-A21C-546E6F52B178}" destId="{1E4D186B-628A-4E01-A210-578940BA839A}" srcOrd="0" destOrd="3" presId="urn:microsoft.com/office/officeart/2005/8/layout/vList2"/>
    <dgm:cxn modelId="{F11F0867-59EB-4712-9DB0-A58CA5630E75}" srcId="{87A98656-67AE-442D-9A5C-074A48062257}" destId="{3FC219D5-36C6-4D29-9147-F31D579B2979}" srcOrd="0" destOrd="0" parTransId="{C4A017E9-E9AD-4224-B7FC-F97FE35DEA1A}" sibTransId="{D1537584-1495-4907-87E3-FEA9A220DA1C}"/>
    <dgm:cxn modelId="{90DF2747-24B5-472B-9AED-EA9CCB5B942C}" type="presOf" srcId="{4A8A3B1F-FB3D-4DAF-96F1-8A3B15695F7C}" destId="{1E4D186B-628A-4E01-A210-578940BA839A}" srcOrd="0" destOrd="2" presId="urn:microsoft.com/office/officeart/2005/8/layout/vList2"/>
    <dgm:cxn modelId="{7EF27468-EF73-4D66-A714-286E3A9FD047}" type="presOf" srcId="{4CDDD3C5-0301-42AF-8D8E-B13C821A28CB}" destId="{A39E1E06-812B-4F63-B86D-892075F7A0E6}" srcOrd="0" destOrd="1" presId="urn:microsoft.com/office/officeart/2005/8/layout/vList2"/>
    <dgm:cxn modelId="{C117C769-67D8-4AAE-B940-FAD196882681}" srcId="{87A98656-67AE-442D-9A5C-074A48062257}" destId="{4159C49C-D974-4E2A-AB5D-D838049258A5}" srcOrd="1" destOrd="0" parTransId="{37A535E4-6779-48D8-94EB-A34D616F7DC3}" sibTransId="{0C240677-E6F2-4473-A9A2-BE93F002E112}"/>
    <dgm:cxn modelId="{BB0D304A-6FC1-469E-A6E0-F4D9699221DE}" srcId="{934BA7DA-09DE-4BEB-9A23-5A98B0836BB0}" destId="{A6A9F76A-71E4-4A15-9E87-7F75D75B93AA}" srcOrd="2" destOrd="0" parTransId="{80524295-3BF2-46CB-BC6A-630F4F063FF7}" sibTransId="{B08AC38F-4895-4DDD-AD85-472ACAEEA76D}"/>
    <dgm:cxn modelId="{2413E251-24A6-487D-8C05-758C4C4FF110}" type="presOf" srcId="{A6A9F76A-71E4-4A15-9E87-7F75D75B93AA}" destId="{A39E1E06-812B-4F63-B86D-892075F7A0E6}" srcOrd="0" destOrd="2" presId="urn:microsoft.com/office/officeart/2005/8/layout/vList2"/>
    <dgm:cxn modelId="{C640B556-9B58-4D7D-A50A-BC917B21A68E}" srcId="{4159C49C-D974-4E2A-AB5D-D838049258A5}" destId="{E1F9CA9A-B875-40F0-A49B-A9DDAC27AB92}" srcOrd="1" destOrd="0" parTransId="{6E065C5D-1140-46FB-8204-45B8120C46D2}" sibTransId="{2E290B67-3B89-4866-83C7-367C1802019D}"/>
    <dgm:cxn modelId="{38C07289-477B-446C-885F-0ECE724D8AC3}" type="presOf" srcId="{87A98656-67AE-442D-9A5C-074A48062257}" destId="{5436245F-BE67-4F65-915C-8F483857E933}" srcOrd="0" destOrd="0" presId="urn:microsoft.com/office/officeart/2005/8/layout/vList2"/>
    <dgm:cxn modelId="{EE2F0896-FD22-4ED9-BC78-AE506A89B433}" type="presOf" srcId="{934BA7DA-09DE-4BEB-9A23-5A98B0836BB0}" destId="{CB0C1EB8-E656-471F-93BB-D99A38F9A6E6}" srcOrd="0" destOrd="0" presId="urn:microsoft.com/office/officeart/2005/8/layout/vList2"/>
    <dgm:cxn modelId="{2B9ADBBB-2848-45A0-9947-F68E36944440}" srcId="{87A98656-67AE-442D-9A5C-074A48062257}" destId="{934BA7DA-09DE-4BEB-9A23-5A98B0836BB0}" srcOrd="2" destOrd="0" parTransId="{91237A01-09DC-449C-B7CE-6DA4927A997F}" sibTransId="{3C6B61C7-BFF4-4198-8801-4164D6F447B6}"/>
    <dgm:cxn modelId="{04A865BE-A27C-4073-9648-F9ADAAAAB0FF}" srcId="{87A98656-67AE-442D-9A5C-074A48062257}" destId="{1B9389F6-23AE-49A8-B257-9AC2493BA7DA}" srcOrd="3" destOrd="0" parTransId="{E0AB5000-E03C-41A0-89FB-10BDB997AAF2}" sibTransId="{8FFC00F5-667D-441B-AC0A-2B01AA29FDB8}"/>
    <dgm:cxn modelId="{81C4BDC8-D2D6-46D8-BD49-9D4016ADDD95}" srcId="{4159C49C-D974-4E2A-AB5D-D838049258A5}" destId="{571D769B-41DB-4112-A21C-546E6F52B178}" srcOrd="3" destOrd="0" parTransId="{F195137E-AFAB-41D1-8FEF-0F6B22C14C3E}" sibTransId="{88EB697D-DE0F-472D-B373-79CF2FBFEC43}"/>
    <dgm:cxn modelId="{96D886E6-8890-4052-8941-8A9AC9E144F1}" srcId="{3FC219D5-36C6-4D29-9147-F31D579B2979}" destId="{9E8D9C5B-409B-49FB-88A6-1E96D8F2B9D7}" srcOrd="1" destOrd="0" parTransId="{91922C7A-7DDC-452B-8CA6-2A63EB80B4F9}" sibTransId="{96C3D2C6-0682-4173-831A-C36E1A14E53A}"/>
    <dgm:cxn modelId="{64B411E9-417C-46FF-8F62-1EF2B14DB5D1}" type="presOf" srcId="{D06018F6-42D5-4F3B-A02C-840A6F1EAC96}" destId="{A03A1B87-6FD7-4E7F-A923-9D1211FF7B21}" srcOrd="0" destOrd="0" presId="urn:microsoft.com/office/officeart/2005/8/layout/vList2"/>
    <dgm:cxn modelId="{710E43E9-EC43-4257-A396-5720998FEF7B}" srcId="{934BA7DA-09DE-4BEB-9A23-5A98B0836BB0}" destId="{4CDDD3C5-0301-42AF-8D8E-B13C821A28CB}" srcOrd="1" destOrd="0" parTransId="{1B577DCF-0C79-4B1B-BFB8-13D6E9745B17}" sibTransId="{751C62BE-673D-49DA-9430-B76AB1C52355}"/>
    <dgm:cxn modelId="{FE28A1F6-85E6-4229-8EFD-8F83105A8E9C}" srcId="{934BA7DA-09DE-4BEB-9A23-5A98B0836BB0}" destId="{F33186A5-E036-4DC6-805E-49EBBE4588D1}" srcOrd="0" destOrd="0" parTransId="{FAD6D367-C790-45D4-ACDE-0A2CF8748F7C}" sibTransId="{A3B38D20-4439-4020-83EC-982CDF8693AF}"/>
    <dgm:cxn modelId="{00115AFE-38F5-4DE1-BCFC-64276AC4B446}" srcId="{4159C49C-D974-4E2A-AB5D-D838049258A5}" destId="{4A8A3B1F-FB3D-4DAF-96F1-8A3B15695F7C}" srcOrd="2" destOrd="0" parTransId="{F9CBBD50-234A-4F80-A915-89B8B467CC16}" sibTransId="{56122E87-779D-421A-9739-3E517DA63629}"/>
    <dgm:cxn modelId="{4D381EF7-1496-4091-9714-CDDD9A44E2F7}" type="presParOf" srcId="{5436245F-BE67-4F65-915C-8F483857E933}" destId="{8F244945-30F2-442E-99B5-0E6BFD9112D6}" srcOrd="0" destOrd="0" presId="urn:microsoft.com/office/officeart/2005/8/layout/vList2"/>
    <dgm:cxn modelId="{8D94A108-A4F2-49C5-92F5-550049D490EF}" type="presParOf" srcId="{5436245F-BE67-4F65-915C-8F483857E933}" destId="{A03A1B87-6FD7-4E7F-A923-9D1211FF7B21}" srcOrd="1" destOrd="0" presId="urn:microsoft.com/office/officeart/2005/8/layout/vList2"/>
    <dgm:cxn modelId="{0392A2C6-E2BD-4A41-B571-23F2A4F53FEF}" type="presParOf" srcId="{5436245F-BE67-4F65-915C-8F483857E933}" destId="{62DDB0FC-6E1B-4D97-87A2-88E062C2D652}" srcOrd="2" destOrd="0" presId="urn:microsoft.com/office/officeart/2005/8/layout/vList2"/>
    <dgm:cxn modelId="{E9488BBA-D7F8-4C34-940C-3F17E8DDF189}" type="presParOf" srcId="{5436245F-BE67-4F65-915C-8F483857E933}" destId="{1E4D186B-628A-4E01-A210-578940BA839A}" srcOrd="3" destOrd="0" presId="urn:microsoft.com/office/officeart/2005/8/layout/vList2"/>
    <dgm:cxn modelId="{D55E008F-5C6D-463C-85B8-E2380704FAF3}" type="presParOf" srcId="{5436245F-BE67-4F65-915C-8F483857E933}" destId="{CB0C1EB8-E656-471F-93BB-D99A38F9A6E6}" srcOrd="4" destOrd="0" presId="urn:microsoft.com/office/officeart/2005/8/layout/vList2"/>
    <dgm:cxn modelId="{ED9FF760-B2B4-4E5A-9B35-C76AAB4EC67A}" type="presParOf" srcId="{5436245F-BE67-4F65-915C-8F483857E933}" destId="{A39E1E06-812B-4F63-B86D-892075F7A0E6}" srcOrd="5" destOrd="0" presId="urn:microsoft.com/office/officeart/2005/8/layout/vList2"/>
    <dgm:cxn modelId="{77BD2B34-1E76-45C2-9064-271B8480D17A}" type="presParOf" srcId="{5436245F-BE67-4F65-915C-8F483857E933}" destId="{17C17339-F648-4484-8B8B-DD6DE4797979}" srcOrd="6" destOrd="0" presId="urn:microsoft.com/office/officeart/2005/8/layout/vList2"/>
    <dgm:cxn modelId="{33587681-C403-4E26-83F4-4559F3899F59}" type="presParOf" srcId="{5436245F-BE67-4F65-915C-8F483857E933}" destId="{59718E81-0315-4E70-A8A3-5506A202C03A}" srcOrd="7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95987CFB-C787-4212-A142-D0D372ADBA16}" type="doc">
      <dgm:prSet loTypeId="urn:microsoft.com/office/officeart/2005/8/layout/vList2" loCatId="list" qsTypeId="urn:microsoft.com/office/officeart/2005/8/quickstyle/simple1" qsCatId="simple" csTypeId="urn:microsoft.com/office/officeart/2005/8/colors/accent0_3" csCatId="mainScheme" phldr="1"/>
      <dgm:spPr/>
      <dgm:t>
        <a:bodyPr/>
        <a:lstStyle/>
        <a:p>
          <a:endParaRPr lang="de-DE"/>
        </a:p>
      </dgm:t>
    </dgm:pt>
    <dgm:pt modelId="{EA0F1308-7CE9-4B0D-B605-59DAD9D9B472}">
      <dgm:prSet phldrT="[Text]" custT="1"/>
      <dgm:spPr/>
      <dgm:t>
        <a:bodyPr/>
        <a:lstStyle/>
        <a:p>
          <a:r>
            <a:rPr lang="de-DE" sz="2100" u="none" dirty="0"/>
            <a:t>1. Datensatz mit bekannten </a:t>
          </a:r>
          <a:r>
            <a:rPr lang="de-DE" sz="2100" u="none" dirty="0" err="1"/>
            <a:t>Biases</a:t>
          </a:r>
          <a:endParaRPr lang="de-DE" sz="2100" u="none" dirty="0"/>
        </a:p>
      </dgm:t>
    </dgm:pt>
    <dgm:pt modelId="{D0C33266-534C-4478-B794-1DF68BF4E91C}" type="parTrans" cxnId="{DBF6B06D-CE83-4FE6-AB1E-94A412D92278}">
      <dgm:prSet/>
      <dgm:spPr/>
      <dgm:t>
        <a:bodyPr/>
        <a:lstStyle/>
        <a:p>
          <a:endParaRPr lang="de-DE"/>
        </a:p>
      </dgm:t>
    </dgm:pt>
    <dgm:pt modelId="{3FF746AB-FF94-4C11-9565-124A17FC87BE}" type="sibTrans" cxnId="{DBF6B06D-CE83-4FE6-AB1E-94A412D92278}">
      <dgm:prSet/>
      <dgm:spPr/>
      <dgm:t>
        <a:bodyPr/>
        <a:lstStyle/>
        <a:p>
          <a:endParaRPr lang="de-DE"/>
        </a:p>
      </dgm:t>
    </dgm:pt>
    <dgm:pt modelId="{515943EF-2265-4029-8F3B-D84FDE1F640A}">
      <dgm:prSet custT="1"/>
      <dgm:spPr/>
      <dgm:t>
        <a:bodyPr/>
        <a:lstStyle/>
        <a:p>
          <a:pPr>
            <a:buFont typeface="Arial" panose="020B0604020202020204" pitchFamily="34" charset="0"/>
            <a:buChar char="•"/>
          </a:pPr>
          <a:r>
            <a:rPr lang="de-DE" sz="1600" dirty="0"/>
            <a:t>Der Datensatz wird dem Artefakt mit dem benötigten Kontext übergeben, das Ergebnis des Artefakts wird mit dem Metawissen über den Datensatz verglichen.</a:t>
          </a:r>
          <a:br>
            <a:rPr lang="de-DE" sz="1600" dirty="0"/>
          </a:br>
          <a:r>
            <a:rPr lang="de-DE" sz="1600" dirty="0"/>
            <a:t>Bsp. Wenn ein Datensatz Frauen bei Beförderungen benachteiligen sollte, wir überprüft, ob das Artefakt das auch herausfinden kann</a:t>
          </a:r>
        </a:p>
      </dgm:t>
    </dgm:pt>
    <dgm:pt modelId="{B65B5A59-8794-4D46-B4B6-F81628D6E7CB}" type="parTrans" cxnId="{D3846676-E3F8-436D-99F7-442468769D5C}">
      <dgm:prSet/>
      <dgm:spPr/>
      <dgm:t>
        <a:bodyPr/>
        <a:lstStyle/>
        <a:p>
          <a:endParaRPr lang="de-DE"/>
        </a:p>
      </dgm:t>
    </dgm:pt>
    <dgm:pt modelId="{796F9AEA-2307-4E83-B031-843E229EF9B4}" type="sibTrans" cxnId="{D3846676-E3F8-436D-99F7-442468769D5C}">
      <dgm:prSet/>
      <dgm:spPr/>
      <dgm:t>
        <a:bodyPr/>
        <a:lstStyle/>
        <a:p>
          <a:endParaRPr lang="de-DE"/>
        </a:p>
      </dgm:t>
    </dgm:pt>
    <dgm:pt modelId="{C7DB6D70-8185-4A8D-B6C4-31A38212C308}">
      <dgm:prSet custT="1"/>
      <dgm:spPr/>
      <dgm:t>
        <a:bodyPr/>
        <a:lstStyle/>
        <a:p>
          <a:r>
            <a:rPr lang="de-DE" sz="2100" u="none" dirty="0"/>
            <a:t>2. Datensatz mit bekannten </a:t>
          </a:r>
          <a:r>
            <a:rPr lang="de-DE" sz="2100" u="none" dirty="0" err="1"/>
            <a:t>Biases</a:t>
          </a:r>
          <a:r>
            <a:rPr lang="de-DE" sz="2100" u="none" dirty="0"/>
            <a:t> und bereinigte Version des Datensatzes</a:t>
          </a:r>
        </a:p>
      </dgm:t>
    </dgm:pt>
    <dgm:pt modelId="{C81ACE72-7B0A-4A37-A17D-9B9544AC20E3}" type="parTrans" cxnId="{2BA176E2-74B4-4346-A7EB-D8495407AFA7}">
      <dgm:prSet/>
      <dgm:spPr/>
      <dgm:t>
        <a:bodyPr/>
        <a:lstStyle/>
        <a:p>
          <a:endParaRPr lang="de-DE"/>
        </a:p>
      </dgm:t>
    </dgm:pt>
    <dgm:pt modelId="{5E4D73C5-007E-47C3-BB5B-AF5C44C34551}" type="sibTrans" cxnId="{2BA176E2-74B4-4346-A7EB-D8495407AFA7}">
      <dgm:prSet/>
      <dgm:spPr/>
      <dgm:t>
        <a:bodyPr/>
        <a:lstStyle/>
        <a:p>
          <a:endParaRPr lang="de-DE"/>
        </a:p>
      </dgm:t>
    </dgm:pt>
    <dgm:pt modelId="{CA4C151A-4C6E-43C5-AB33-6ADA8C9CC8A3}">
      <dgm:prSet custT="1"/>
      <dgm:spPr/>
      <dgm:t>
        <a:bodyPr/>
        <a:lstStyle/>
        <a:p>
          <a:r>
            <a:rPr lang="de-DE" sz="1600" dirty="0"/>
            <a:t>Gleiches Prozedere wie bei der ersten Art, aber darauffolgend wird dem Artefakt noch eine bereinigte Version von dem Datensatz übergeben. Die beiden Ergebnisse werden danach verglichen.</a:t>
          </a:r>
          <a:br>
            <a:rPr lang="de-DE" sz="1600" dirty="0"/>
          </a:br>
          <a:r>
            <a:rPr lang="de-DE" sz="1600" dirty="0"/>
            <a:t>Bsp. Wenn ein Datensatz Frauen benachteiligt, der bereinigte Datensatz benachteiligt Frauen nicht mehr. Das Artefakt sollte bei beiden Datensätzen nicht das selbe Ergebnis liefern</a:t>
          </a:r>
          <a:endParaRPr lang="de-DE" sz="1600" u="sng" dirty="0"/>
        </a:p>
      </dgm:t>
    </dgm:pt>
    <dgm:pt modelId="{961109DA-A8FB-4CD4-AA12-0974740B48F0}" type="parTrans" cxnId="{89B305D6-8757-41CB-ACFB-E2EAD9A16289}">
      <dgm:prSet/>
      <dgm:spPr/>
      <dgm:t>
        <a:bodyPr/>
        <a:lstStyle/>
        <a:p>
          <a:endParaRPr lang="de-DE"/>
        </a:p>
      </dgm:t>
    </dgm:pt>
    <dgm:pt modelId="{F8FF074A-BBC9-4009-BD05-11F7C85389F5}" type="sibTrans" cxnId="{89B305D6-8757-41CB-ACFB-E2EAD9A16289}">
      <dgm:prSet/>
      <dgm:spPr/>
      <dgm:t>
        <a:bodyPr/>
        <a:lstStyle/>
        <a:p>
          <a:endParaRPr lang="de-DE"/>
        </a:p>
      </dgm:t>
    </dgm:pt>
    <dgm:pt modelId="{3B880D4F-5B2C-4A76-B221-50C8D9B9A35E}">
      <dgm:prSet custT="1"/>
      <dgm:spPr/>
      <dgm:t>
        <a:bodyPr/>
        <a:lstStyle/>
        <a:p>
          <a:r>
            <a:rPr lang="de-DE" sz="2100" u="none" dirty="0"/>
            <a:t>3. Datensatz ohne bekannten Bias</a:t>
          </a:r>
        </a:p>
      </dgm:t>
    </dgm:pt>
    <dgm:pt modelId="{1ADBA4A6-36CA-41E7-BCBB-C17D26ECB14A}" type="parTrans" cxnId="{FF993EBB-98E3-4A44-8F56-827756B77265}">
      <dgm:prSet/>
      <dgm:spPr/>
      <dgm:t>
        <a:bodyPr/>
        <a:lstStyle/>
        <a:p>
          <a:endParaRPr lang="de-DE"/>
        </a:p>
      </dgm:t>
    </dgm:pt>
    <dgm:pt modelId="{7D646712-F59E-40AC-8298-7F499A9554DC}" type="sibTrans" cxnId="{FF993EBB-98E3-4A44-8F56-827756B77265}">
      <dgm:prSet/>
      <dgm:spPr/>
      <dgm:t>
        <a:bodyPr/>
        <a:lstStyle/>
        <a:p>
          <a:endParaRPr lang="de-DE"/>
        </a:p>
      </dgm:t>
    </dgm:pt>
    <dgm:pt modelId="{5B5D6497-48FC-4D4C-9CC9-58EDE2BFFE04}">
      <dgm:prSet custT="1"/>
      <dgm:spPr/>
      <dgm:t>
        <a:bodyPr/>
        <a:lstStyle/>
        <a:p>
          <a:r>
            <a:rPr lang="de-DE" sz="1600" dirty="0"/>
            <a:t>Gleicher Ablauf wie bei der ersten Art, nur sind keine Metainformationen vorhanden. Die Ergebnisse werden dann erfasst.</a:t>
          </a:r>
        </a:p>
      </dgm:t>
    </dgm:pt>
    <dgm:pt modelId="{87540B26-7DEB-4C77-AD13-9F3530D51DD1}" type="parTrans" cxnId="{28A5B6FF-179C-46B8-9764-2DB2AF8500D4}">
      <dgm:prSet/>
      <dgm:spPr/>
      <dgm:t>
        <a:bodyPr/>
        <a:lstStyle/>
        <a:p>
          <a:endParaRPr lang="de-DE"/>
        </a:p>
      </dgm:t>
    </dgm:pt>
    <dgm:pt modelId="{F22E4507-5B55-46F2-A2DB-390E208B8B87}" type="sibTrans" cxnId="{28A5B6FF-179C-46B8-9764-2DB2AF8500D4}">
      <dgm:prSet/>
      <dgm:spPr/>
      <dgm:t>
        <a:bodyPr/>
        <a:lstStyle/>
        <a:p>
          <a:endParaRPr lang="de-DE"/>
        </a:p>
      </dgm:t>
    </dgm:pt>
    <dgm:pt modelId="{C2FA5577-DE80-4AD9-A974-E44324A5B61C}" type="pres">
      <dgm:prSet presAssocID="{95987CFB-C787-4212-A142-D0D372ADBA16}" presName="linear" presStyleCnt="0">
        <dgm:presLayoutVars>
          <dgm:animLvl val="lvl"/>
          <dgm:resizeHandles val="exact"/>
        </dgm:presLayoutVars>
      </dgm:prSet>
      <dgm:spPr/>
    </dgm:pt>
    <dgm:pt modelId="{A9B0BCAB-5CCE-4FC9-A54E-F50BCAF94814}" type="pres">
      <dgm:prSet presAssocID="{EA0F1308-7CE9-4B0D-B605-59DAD9D9B472}" presName="parentText" presStyleLbl="node1" presStyleIdx="0" presStyleCnt="3">
        <dgm:presLayoutVars>
          <dgm:chMax val="0"/>
          <dgm:bulletEnabled val="1"/>
        </dgm:presLayoutVars>
      </dgm:prSet>
      <dgm:spPr/>
    </dgm:pt>
    <dgm:pt modelId="{32C9EE75-A0BE-4BD4-B39B-CC6BA884D281}" type="pres">
      <dgm:prSet presAssocID="{EA0F1308-7CE9-4B0D-B605-59DAD9D9B472}" presName="childText" presStyleLbl="revTx" presStyleIdx="0" presStyleCnt="3" custLinFactNeighborY="5248">
        <dgm:presLayoutVars>
          <dgm:bulletEnabled val="1"/>
        </dgm:presLayoutVars>
      </dgm:prSet>
      <dgm:spPr/>
    </dgm:pt>
    <dgm:pt modelId="{59A4E54E-7941-4883-9367-F8FA043E8803}" type="pres">
      <dgm:prSet presAssocID="{C7DB6D70-8185-4A8D-B6C4-31A38212C308}" presName="parentText" presStyleLbl="node1" presStyleIdx="1" presStyleCnt="3" custLinFactNeighborY="4216">
        <dgm:presLayoutVars>
          <dgm:chMax val="0"/>
          <dgm:bulletEnabled val="1"/>
        </dgm:presLayoutVars>
      </dgm:prSet>
      <dgm:spPr/>
    </dgm:pt>
    <dgm:pt modelId="{85EABC74-0301-42D3-B6C6-B80A35738FDB}" type="pres">
      <dgm:prSet presAssocID="{C7DB6D70-8185-4A8D-B6C4-31A38212C308}" presName="childText" presStyleLbl="revTx" presStyleIdx="1" presStyleCnt="3" custLinFactNeighborY="6560">
        <dgm:presLayoutVars>
          <dgm:bulletEnabled val="1"/>
        </dgm:presLayoutVars>
      </dgm:prSet>
      <dgm:spPr/>
    </dgm:pt>
    <dgm:pt modelId="{19091E62-5FD3-42FE-B4C7-36B2500CEFBD}" type="pres">
      <dgm:prSet presAssocID="{3B880D4F-5B2C-4A76-B221-50C8D9B9A35E}" presName="parentText" presStyleLbl="node1" presStyleIdx="2" presStyleCnt="3" custLinFactNeighborY="4710">
        <dgm:presLayoutVars>
          <dgm:chMax val="0"/>
          <dgm:bulletEnabled val="1"/>
        </dgm:presLayoutVars>
      </dgm:prSet>
      <dgm:spPr/>
    </dgm:pt>
    <dgm:pt modelId="{31B992FA-1C71-4F0A-A331-B854503DAEC2}" type="pres">
      <dgm:prSet presAssocID="{3B880D4F-5B2C-4A76-B221-50C8D9B9A35E}" presName="childText" presStyleLbl="revTx" presStyleIdx="2" presStyleCnt="3" custScaleY="82495" custLinFactNeighborY="2948">
        <dgm:presLayoutVars>
          <dgm:bulletEnabled val="1"/>
        </dgm:presLayoutVars>
      </dgm:prSet>
      <dgm:spPr/>
    </dgm:pt>
  </dgm:ptLst>
  <dgm:cxnLst>
    <dgm:cxn modelId="{0E08640D-C4E8-4823-B341-AE0BEF483C5E}" type="presOf" srcId="{EA0F1308-7CE9-4B0D-B605-59DAD9D9B472}" destId="{A9B0BCAB-5CCE-4FC9-A54E-F50BCAF94814}" srcOrd="0" destOrd="0" presId="urn:microsoft.com/office/officeart/2005/8/layout/vList2"/>
    <dgm:cxn modelId="{FCCE843D-D8E5-46E2-AA8E-E65CDE476698}" type="presOf" srcId="{515943EF-2265-4029-8F3B-D84FDE1F640A}" destId="{32C9EE75-A0BE-4BD4-B39B-CC6BA884D281}" srcOrd="0" destOrd="0" presId="urn:microsoft.com/office/officeart/2005/8/layout/vList2"/>
    <dgm:cxn modelId="{DBF6B06D-CE83-4FE6-AB1E-94A412D92278}" srcId="{95987CFB-C787-4212-A142-D0D372ADBA16}" destId="{EA0F1308-7CE9-4B0D-B605-59DAD9D9B472}" srcOrd="0" destOrd="0" parTransId="{D0C33266-534C-4478-B794-1DF68BF4E91C}" sibTransId="{3FF746AB-FF94-4C11-9565-124A17FC87BE}"/>
    <dgm:cxn modelId="{9F0E4B51-37CD-48F3-911A-8DAA40DB6769}" type="presOf" srcId="{3B880D4F-5B2C-4A76-B221-50C8D9B9A35E}" destId="{19091E62-5FD3-42FE-B4C7-36B2500CEFBD}" srcOrd="0" destOrd="0" presId="urn:microsoft.com/office/officeart/2005/8/layout/vList2"/>
    <dgm:cxn modelId="{19771974-3812-4512-B29B-DDE41210E8A0}" type="presOf" srcId="{5B5D6497-48FC-4D4C-9CC9-58EDE2BFFE04}" destId="{31B992FA-1C71-4F0A-A331-B854503DAEC2}" srcOrd="0" destOrd="0" presId="urn:microsoft.com/office/officeart/2005/8/layout/vList2"/>
    <dgm:cxn modelId="{D3846676-E3F8-436D-99F7-442468769D5C}" srcId="{EA0F1308-7CE9-4B0D-B605-59DAD9D9B472}" destId="{515943EF-2265-4029-8F3B-D84FDE1F640A}" srcOrd="0" destOrd="0" parTransId="{B65B5A59-8794-4D46-B4B6-F81628D6E7CB}" sibTransId="{796F9AEA-2307-4E83-B031-843E229EF9B4}"/>
    <dgm:cxn modelId="{5482089A-E703-4BE3-BA56-AE7698B8E710}" type="presOf" srcId="{C7DB6D70-8185-4A8D-B6C4-31A38212C308}" destId="{59A4E54E-7941-4883-9367-F8FA043E8803}" srcOrd="0" destOrd="0" presId="urn:microsoft.com/office/officeart/2005/8/layout/vList2"/>
    <dgm:cxn modelId="{06ED299C-7AE2-49A3-8C68-96FAF677D0E6}" type="presOf" srcId="{95987CFB-C787-4212-A142-D0D372ADBA16}" destId="{C2FA5577-DE80-4AD9-A974-E44324A5B61C}" srcOrd="0" destOrd="0" presId="urn:microsoft.com/office/officeart/2005/8/layout/vList2"/>
    <dgm:cxn modelId="{FF993EBB-98E3-4A44-8F56-827756B77265}" srcId="{95987CFB-C787-4212-A142-D0D372ADBA16}" destId="{3B880D4F-5B2C-4A76-B221-50C8D9B9A35E}" srcOrd="2" destOrd="0" parTransId="{1ADBA4A6-36CA-41E7-BCBB-C17D26ECB14A}" sibTransId="{7D646712-F59E-40AC-8298-7F499A9554DC}"/>
    <dgm:cxn modelId="{497EF2D1-719C-4110-B576-2C04FC3BF31A}" type="presOf" srcId="{CA4C151A-4C6E-43C5-AB33-6ADA8C9CC8A3}" destId="{85EABC74-0301-42D3-B6C6-B80A35738FDB}" srcOrd="0" destOrd="0" presId="urn:microsoft.com/office/officeart/2005/8/layout/vList2"/>
    <dgm:cxn modelId="{89B305D6-8757-41CB-ACFB-E2EAD9A16289}" srcId="{C7DB6D70-8185-4A8D-B6C4-31A38212C308}" destId="{CA4C151A-4C6E-43C5-AB33-6ADA8C9CC8A3}" srcOrd="0" destOrd="0" parTransId="{961109DA-A8FB-4CD4-AA12-0974740B48F0}" sibTransId="{F8FF074A-BBC9-4009-BD05-11F7C85389F5}"/>
    <dgm:cxn modelId="{2BA176E2-74B4-4346-A7EB-D8495407AFA7}" srcId="{95987CFB-C787-4212-A142-D0D372ADBA16}" destId="{C7DB6D70-8185-4A8D-B6C4-31A38212C308}" srcOrd="1" destOrd="0" parTransId="{C81ACE72-7B0A-4A37-A17D-9B9544AC20E3}" sibTransId="{5E4D73C5-007E-47C3-BB5B-AF5C44C34551}"/>
    <dgm:cxn modelId="{28A5B6FF-179C-46B8-9764-2DB2AF8500D4}" srcId="{3B880D4F-5B2C-4A76-B221-50C8D9B9A35E}" destId="{5B5D6497-48FC-4D4C-9CC9-58EDE2BFFE04}" srcOrd="0" destOrd="0" parTransId="{87540B26-7DEB-4C77-AD13-9F3530D51DD1}" sibTransId="{F22E4507-5B55-46F2-A2DB-390E208B8B87}"/>
    <dgm:cxn modelId="{B6996EBE-D250-4486-AE60-DA448560F6C8}" type="presParOf" srcId="{C2FA5577-DE80-4AD9-A974-E44324A5B61C}" destId="{A9B0BCAB-5CCE-4FC9-A54E-F50BCAF94814}" srcOrd="0" destOrd="0" presId="urn:microsoft.com/office/officeart/2005/8/layout/vList2"/>
    <dgm:cxn modelId="{15A56C11-8702-4C6C-AA54-35AEF591DE5F}" type="presParOf" srcId="{C2FA5577-DE80-4AD9-A974-E44324A5B61C}" destId="{32C9EE75-A0BE-4BD4-B39B-CC6BA884D281}" srcOrd="1" destOrd="0" presId="urn:microsoft.com/office/officeart/2005/8/layout/vList2"/>
    <dgm:cxn modelId="{02B31080-07BB-4A8A-A200-4F49520A9C4C}" type="presParOf" srcId="{C2FA5577-DE80-4AD9-A974-E44324A5B61C}" destId="{59A4E54E-7941-4883-9367-F8FA043E8803}" srcOrd="2" destOrd="0" presId="urn:microsoft.com/office/officeart/2005/8/layout/vList2"/>
    <dgm:cxn modelId="{73A36ECB-4D79-4EEA-8F85-E30446693E86}" type="presParOf" srcId="{C2FA5577-DE80-4AD9-A974-E44324A5B61C}" destId="{85EABC74-0301-42D3-B6C6-B80A35738FDB}" srcOrd="3" destOrd="0" presId="urn:microsoft.com/office/officeart/2005/8/layout/vList2"/>
    <dgm:cxn modelId="{772C9E97-BC02-46F6-85FC-E4D9F1DD5A8F}" type="presParOf" srcId="{C2FA5577-DE80-4AD9-A974-E44324A5B61C}" destId="{19091E62-5FD3-42FE-B4C7-36B2500CEFBD}" srcOrd="4" destOrd="0" presId="urn:microsoft.com/office/officeart/2005/8/layout/vList2"/>
    <dgm:cxn modelId="{FD4CE585-6D24-47FE-B5A0-CA6AF8FE4B86}" type="presParOf" srcId="{C2FA5577-DE80-4AD9-A974-E44324A5B61C}" destId="{31B992FA-1C71-4F0A-A331-B854503DAEC2}" srcOrd="5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BE8A212-EAD6-4BCD-9271-CA3420115383}">
      <dsp:nvSpPr>
        <dsp:cNvPr id="0" name=""/>
        <dsp:cNvSpPr/>
      </dsp:nvSpPr>
      <dsp:spPr>
        <a:xfrm>
          <a:off x="-5389396" y="-825278"/>
          <a:ext cx="6417290" cy="6417290"/>
        </a:xfrm>
        <a:prstGeom prst="blockArc">
          <a:avLst>
            <a:gd name="adj1" fmla="val 18900000"/>
            <a:gd name="adj2" fmla="val 2700000"/>
            <a:gd name="adj3" fmla="val 337"/>
          </a:avLst>
        </a:prstGeom>
        <a:noFill/>
        <a:ln w="12700" cap="flat" cmpd="sng" algn="ctr">
          <a:solidFill>
            <a:schemeClr val="dk2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D1694879-04E8-4E58-88EE-0586A625FEB8}">
      <dsp:nvSpPr>
        <dsp:cNvPr id="0" name=""/>
        <dsp:cNvSpPr/>
      </dsp:nvSpPr>
      <dsp:spPr>
        <a:xfrm>
          <a:off x="538136" y="366466"/>
          <a:ext cx="10553320" cy="733314"/>
        </a:xfrm>
        <a:prstGeom prst="rect">
          <a:avLst/>
        </a:prstGeom>
        <a:solidFill>
          <a:srgbClr val="C50F3C"/>
        </a:solidFill>
        <a:ln w="127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82068" tIns="50800" rIns="50800" bIns="50800" numCol="1" spcCol="1270" anchor="ctr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FontTx/>
            <a:buNone/>
          </a:pPr>
          <a:r>
            <a:rPr lang="de-DE" sz="2000" kern="1200" dirty="0">
              <a:latin typeface="Arial"/>
            </a:rPr>
            <a:t>Datensätze sind direkt oder indirekt durch Menschen erschaffen</a:t>
          </a:r>
          <a:endParaRPr lang="de-DE" sz="2000" kern="1200" dirty="0"/>
        </a:p>
      </dsp:txBody>
      <dsp:txXfrm>
        <a:off x="538136" y="366466"/>
        <a:ext cx="10553320" cy="733314"/>
      </dsp:txXfrm>
    </dsp:sp>
    <dsp:sp modelId="{D64A3C50-2AE5-42EF-9283-9C3500124E46}">
      <dsp:nvSpPr>
        <dsp:cNvPr id="0" name=""/>
        <dsp:cNvSpPr/>
      </dsp:nvSpPr>
      <dsp:spPr>
        <a:xfrm>
          <a:off x="79814" y="274802"/>
          <a:ext cx="916642" cy="916642"/>
        </a:xfrm>
        <a:prstGeom prst="ellipse">
          <a:avLst/>
        </a:prstGeom>
        <a:solidFill>
          <a:schemeClr val="l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E3A08E2A-814F-4313-8D0C-62A097E3A421}">
      <dsp:nvSpPr>
        <dsp:cNvPr id="0" name=""/>
        <dsp:cNvSpPr/>
      </dsp:nvSpPr>
      <dsp:spPr>
        <a:xfrm>
          <a:off x="958562" y="1466628"/>
          <a:ext cx="10132894" cy="733314"/>
        </a:xfrm>
        <a:prstGeom prst="rect">
          <a:avLst/>
        </a:prstGeom>
        <a:solidFill>
          <a:srgbClr val="C50F3C"/>
        </a:solidFill>
        <a:ln w="127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82068" tIns="50800" rIns="50800" bIns="50800" numCol="1" spcCol="1270" anchor="ctr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000" kern="1200">
              <a:latin typeface="Arial"/>
            </a:rPr>
            <a:t>Menschliche Vorurteile werden auf den Datensatz übertragen</a:t>
          </a:r>
          <a:endParaRPr lang="de-DE" sz="2000" kern="1200" dirty="0">
            <a:latin typeface="Arial"/>
          </a:endParaRPr>
        </a:p>
      </dsp:txBody>
      <dsp:txXfrm>
        <a:off x="958562" y="1466628"/>
        <a:ext cx="10132894" cy="733314"/>
      </dsp:txXfrm>
    </dsp:sp>
    <dsp:sp modelId="{BBF2B971-E176-4E77-A162-53C741C273DB}">
      <dsp:nvSpPr>
        <dsp:cNvPr id="0" name=""/>
        <dsp:cNvSpPr/>
      </dsp:nvSpPr>
      <dsp:spPr>
        <a:xfrm>
          <a:off x="500240" y="1374964"/>
          <a:ext cx="916642" cy="916642"/>
        </a:xfrm>
        <a:prstGeom prst="ellipse">
          <a:avLst/>
        </a:prstGeom>
        <a:solidFill>
          <a:schemeClr val="l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050800A1-5204-4F46-9E09-5CEA3F62486E}">
      <dsp:nvSpPr>
        <dsp:cNvPr id="0" name=""/>
        <dsp:cNvSpPr/>
      </dsp:nvSpPr>
      <dsp:spPr>
        <a:xfrm>
          <a:off x="958562" y="2566790"/>
          <a:ext cx="10132894" cy="733314"/>
        </a:xfrm>
        <a:prstGeom prst="rect">
          <a:avLst/>
        </a:prstGeom>
        <a:solidFill>
          <a:srgbClr val="C50F3C"/>
        </a:solidFill>
        <a:ln w="127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82068" tIns="50800" rIns="50800" bIns="50800" numCol="1" spcCol="1270" anchor="ctr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000" kern="1200">
              <a:latin typeface="Arial"/>
            </a:rPr>
            <a:t>Machine Learning Algorithmen lernen Verzerrungen mit</a:t>
          </a:r>
          <a:endParaRPr lang="de-DE" sz="2000" kern="1200" dirty="0">
            <a:latin typeface="Arial"/>
          </a:endParaRPr>
        </a:p>
      </dsp:txBody>
      <dsp:txXfrm>
        <a:off x="958562" y="2566790"/>
        <a:ext cx="10132894" cy="733314"/>
      </dsp:txXfrm>
    </dsp:sp>
    <dsp:sp modelId="{0525F844-532F-439E-83B4-A67A2AEEEBE9}">
      <dsp:nvSpPr>
        <dsp:cNvPr id="0" name=""/>
        <dsp:cNvSpPr/>
      </dsp:nvSpPr>
      <dsp:spPr>
        <a:xfrm>
          <a:off x="500240" y="2475126"/>
          <a:ext cx="916642" cy="916642"/>
        </a:xfrm>
        <a:prstGeom prst="ellipse">
          <a:avLst/>
        </a:prstGeom>
        <a:solidFill>
          <a:schemeClr val="l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058B7F2E-938E-4287-B2FC-6378ACD6D7B6}">
      <dsp:nvSpPr>
        <dsp:cNvPr id="0" name=""/>
        <dsp:cNvSpPr/>
      </dsp:nvSpPr>
      <dsp:spPr>
        <a:xfrm>
          <a:off x="538136" y="3666953"/>
          <a:ext cx="10553320" cy="733314"/>
        </a:xfrm>
        <a:prstGeom prst="rect">
          <a:avLst/>
        </a:prstGeom>
        <a:solidFill>
          <a:srgbClr val="C50F3C"/>
        </a:solidFill>
        <a:ln w="127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82068" tIns="50800" rIns="50800" bIns="50800" numCol="1" spcCol="1270" anchor="ctr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000" kern="1200">
              <a:latin typeface="Arial"/>
            </a:rPr>
            <a:t>Ungleiche Behandlung von verschiedenen Menschengruppen</a:t>
          </a:r>
          <a:endParaRPr lang="de-DE" sz="2000" kern="1200" dirty="0">
            <a:latin typeface="Arial"/>
          </a:endParaRPr>
        </a:p>
      </dsp:txBody>
      <dsp:txXfrm>
        <a:off x="538136" y="3666953"/>
        <a:ext cx="10553320" cy="733314"/>
      </dsp:txXfrm>
    </dsp:sp>
    <dsp:sp modelId="{9362C62A-42A6-4696-9C07-CB68237BB528}">
      <dsp:nvSpPr>
        <dsp:cNvPr id="0" name=""/>
        <dsp:cNvSpPr/>
      </dsp:nvSpPr>
      <dsp:spPr>
        <a:xfrm>
          <a:off x="79814" y="3575288"/>
          <a:ext cx="916642" cy="916642"/>
        </a:xfrm>
        <a:prstGeom prst="ellipse">
          <a:avLst/>
        </a:prstGeom>
        <a:solidFill>
          <a:schemeClr val="l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F244945-30F2-442E-99B5-0E6BFD9112D6}">
      <dsp:nvSpPr>
        <dsp:cNvPr id="0" name=""/>
        <dsp:cNvSpPr/>
      </dsp:nvSpPr>
      <dsp:spPr>
        <a:xfrm>
          <a:off x="0" y="123777"/>
          <a:ext cx="10896609" cy="491399"/>
        </a:xfrm>
        <a:prstGeom prst="roundRec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0010" tIns="80010" rIns="80010" bIns="80010" numCol="1" spcCol="1270" anchor="ctr" anchorCtr="0">
          <a:noAutofit/>
        </a:bodyPr>
        <a:lstStyle/>
        <a:p>
          <a:pPr marL="0" lvl="0" indent="0" algn="l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100" kern="1200" dirty="0"/>
            <a:t>Datensatzart</a:t>
          </a:r>
        </a:p>
      </dsp:txBody>
      <dsp:txXfrm>
        <a:off x="23988" y="147765"/>
        <a:ext cx="10848633" cy="443423"/>
      </dsp:txXfrm>
    </dsp:sp>
    <dsp:sp modelId="{A03A1B87-6FD7-4E7F-A923-9D1211FF7B21}">
      <dsp:nvSpPr>
        <dsp:cNvPr id="0" name=""/>
        <dsp:cNvSpPr/>
      </dsp:nvSpPr>
      <dsp:spPr>
        <a:xfrm>
          <a:off x="0" y="647732"/>
          <a:ext cx="10896609" cy="52164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45967" tIns="26670" rIns="149352" bIns="26670" numCol="1" spcCol="1270" anchor="t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de-DE" sz="1600" kern="1200" dirty="0"/>
            <a:t>Tabellarisch</a:t>
          </a: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de-DE" sz="1600" kern="1200" dirty="0"/>
            <a:t>Nicht konkret</a:t>
          </a:r>
        </a:p>
      </dsp:txBody>
      <dsp:txXfrm>
        <a:off x="0" y="647732"/>
        <a:ext cx="10896609" cy="521640"/>
      </dsp:txXfrm>
    </dsp:sp>
    <dsp:sp modelId="{62DDB0FC-6E1B-4D97-87A2-88E062C2D652}">
      <dsp:nvSpPr>
        <dsp:cNvPr id="0" name=""/>
        <dsp:cNvSpPr/>
      </dsp:nvSpPr>
      <dsp:spPr>
        <a:xfrm>
          <a:off x="0" y="1132222"/>
          <a:ext cx="10896609" cy="491399"/>
        </a:xfrm>
        <a:prstGeom prst="roundRec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0010" tIns="80010" rIns="80010" bIns="80010" numCol="1" spcCol="1270" anchor="ctr" anchorCtr="0">
          <a:noAutofit/>
        </a:bodyPr>
        <a:lstStyle/>
        <a:p>
          <a:pPr marL="0" lvl="0" indent="0" algn="l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100" kern="1200" dirty="0" err="1"/>
            <a:t>Biasumgang</a:t>
          </a:r>
          <a:endParaRPr lang="de-DE" sz="2100" kern="1200" dirty="0"/>
        </a:p>
      </dsp:txBody>
      <dsp:txXfrm>
        <a:off x="23988" y="1156210"/>
        <a:ext cx="10848633" cy="443423"/>
      </dsp:txXfrm>
    </dsp:sp>
    <dsp:sp modelId="{1E4D186B-628A-4E01-A210-578940BA839A}">
      <dsp:nvSpPr>
        <dsp:cNvPr id="0" name=""/>
        <dsp:cNvSpPr/>
      </dsp:nvSpPr>
      <dsp:spPr>
        <a:xfrm>
          <a:off x="0" y="1615234"/>
          <a:ext cx="10896609" cy="104328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45967" tIns="26670" rIns="149352" bIns="26670" numCol="1" spcCol="1270" anchor="t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de-DE" sz="1600" kern="1200" dirty="0"/>
            <a:t>Eliminierung</a:t>
          </a: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de-DE" sz="1600" kern="1200" dirty="0"/>
            <a:t>Minderung</a:t>
          </a: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de-DE" sz="1600" kern="1200" dirty="0"/>
            <a:t>Bestimmung</a:t>
          </a: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de-DE" sz="1600" kern="1200" dirty="0"/>
            <a:t>Findung</a:t>
          </a:r>
        </a:p>
      </dsp:txBody>
      <dsp:txXfrm>
        <a:off x="0" y="1615234"/>
        <a:ext cx="10896609" cy="1043280"/>
      </dsp:txXfrm>
    </dsp:sp>
    <dsp:sp modelId="{CB0C1EB8-E656-471F-93BB-D99A38F9A6E6}">
      <dsp:nvSpPr>
        <dsp:cNvPr id="0" name=""/>
        <dsp:cNvSpPr/>
      </dsp:nvSpPr>
      <dsp:spPr>
        <a:xfrm>
          <a:off x="0" y="2622208"/>
          <a:ext cx="10896609" cy="491399"/>
        </a:xfrm>
        <a:prstGeom prst="roundRec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0010" tIns="80010" rIns="80010" bIns="80010" numCol="1" spcCol="1270" anchor="ctr" anchorCtr="0">
          <a:noAutofit/>
        </a:bodyPr>
        <a:lstStyle/>
        <a:p>
          <a:pPr marL="0" lvl="0" indent="0" algn="l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100" kern="1200" dirty="0"/>
            <a:t>Methoden</a:t>
          </a:r>
        </a:p>
      </dsp:txBody>
      <dsp:txXfrm>
        <a:off x="23988" y="2646196"/>
        <a:ext cx="10848633" cy="443423"/>
      </dsp:txXfrm>
    </dsp:sp>
    <dsp:sp modelId="{A39E1E06-812B-4F63-B86D-892075F7A0E6}">
      <dsp:nvSpPr>
        <dsp:cNvPr id="0" name=""/>
        <dsp:cNvSpPr/>
      </dsp:nvSpPr>
      <dsp:spPr>
        <a:xfrm>
          <a:off x="0" y="3095599"/>
          <a:ext cx="10896609" cy="78246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45967" tIns="26670" rIns="149352" bIns="26670" numCol="1" spcCol="1270" anchor="t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de-DE" sz="1600" kern="1200" dirty="0"/>
            <a:t>Berechnungen</a:t>
          </a: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de-DE" sz="1600" kern="1200" dirty="0"/>
            <a:t>(Pseudo-)Code</a:t>
          </a: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de-DE" sz="1600" kern="1200" dirty="0"/>
            <a:t>Ansätze</a:t>
          </a:r>
        </a:p>
      </dsp:txBody>
      <dsp:txXfrm>
        <a:off x="0" y="3095599"/>
        <a:ext cx="10896609" cy="782460"/>
      </dsp:txXfrm>
    </dsp:sp>
    <dsp:sp modelId="{17C17339-F648-4484-8B8B-DD6DE4797979}">
      <dsp:nvSpPr>
        <dsp:cNvPr id="0" name=""/>
        <dsp:cNvSpPr/>
      </dsp:nvSpPr>
      <dsp:spPr>
        <a:xfrm>
          <a:off x="0" y="3896728"/>
          <a:ext cx="10896609" cy="491399"/>
        </a:xfrm>
        <a:prstGeom prst="roundRec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0010" tIns="80010" rIns="80010" bIns="80010" numCol="1" spcCol="1270" anchor="ctr" anchorCtr="0">
          <a:noAutofit/>
        </a:bodyPr>
        <a:lstStyle/>
        <a:p>
          <a:pPr marL="0" lvl="0" indent="0" algn="l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100" kern="1200" dirty="0"/>
            <a:t>Forschungsfrage</a:t>
          </a:r>
        </a:p>
      </dsp:txBody>
      <dsp:txXfrm>
        <a:off x="23988" y="3920716"/>
        <a:ext cx="10848633" cy="443423"/>
      </dsp:txXfrm>
    </dsp:sp>
    <dsp:sp modelId="{59718E81-0315-4E70-A8A3-5506A202C03A}">
      <dsp:nvSpPr>
        <dsp:cNvPr id="0" name=""/>
        <dsp:cNvSpPr/>
      </dsp:nvSpPr>
      <dsp:spPr>
        <a:xfrm>
          <a:off x="0" y="4391739"/>
          <a:ext cx="10896609" cy="26911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45967" tIns="26670" rIns="149352" bIns="26670" numCol="1" spcCol="1270" anchor="t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kumimoji="0" lang="de-DE" sz="1600" b="0" i="0" u="none" strike="noStrike" kern="1200" cap="none" spc="0" normalizeH="0" baseline="0" noProof="0" dirty="0">
              <a:ln/>
              <a:effectLst/>
              <a:uLnTx/>
              <a:uFillTx/>
              <a:latin typeface="Arial"/>
              <a:ea typeface="+mn-ea"/>
              <a:cs typeface="+mn-cs"/>
            </a:rPr>
            <a:t>„Ermittlung von Verzerrungen (Bias) und Quellen potenzieller Diskriminierung in tabellarischen Datensätzen“</a:t>
          </a:r>
          <a:endParaRPr lang="de-DE" sz="1600" kern="1200" dirty="0"/>
        </a:p>
      </dsp:txBody>
      <dsp:txXfrm>
        <a:off x="0" y="4391739"/>
        <a:ext cx="10896609" cy="269110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9B0BCAB-5CCE-4FC9-A54E-F50BCAF94814}">
      <dsp:nvSpPr>
        <dsp:cNvPr id="0" name=""/>
        <dsp:cNvSpPr/>
      </dsp:nvSpPr>
      <dsp:spPr>
        <a:xfrm>
          <a:off x="0" y="543"/>
          <a:ext cx="11157741" cy="804960"/>
        </a:xfrm>
        <a:prstGeom prst="roundRec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0010" tIns="80010" rIns="80010" bIns="80010" numCol="1" spcCol="1270" anchor="ctr" anchorCtr="0">
          <a:noAutofit/>
        </a:bodyPr>
        <a:lstStyle/>
        <a:p>
          <a:pPr marL="0" lvl="0" indent="0" algn="l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100" u="none" kern="1200" dirty="0"/>
            <a:t>1. Datensatz mit bekannten </a:t>
          </a:r>
          <a:r>
            <a:rPr lang="de-DE" sz="2100" u="none" kern="1200" dirty="0" err="1"/>
            <a:t>Biases</a:t>
          </a:r>
          <a:endParaRPr lang="de-DE" sz="2100" u="none" kern="1200" dirty="0"/>
        </a:p>
      </dsp:txBody>
      <dsp:txXfrm>
        <a:off x="39295" y="39838"/>
        <a:ext cx="11079151" cy="726370"/>
      </dsp:txXfrm>
    </dsp:sp>
    <dsp:sp modelId="{32C9EE75-A0BE-4BD4-B39B-CC6BA884D281}">
      <dsp:nvSpPr>
        <dsp:cNvPr id="0" name=""/>
        <dsp:cNvSpPr/>
      </dsp:nvSpPr>
      <dsp:spPr>
        <a:xfrm>
          <a:off x="0" y="847747"/>
          <a:ext cx="11157741" cy="89010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54258" tIns="20320" rIns="113792" bIns="20320" numCol="1" spcCol="1270" anchor="t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20000"/>
            </a:spcAft>
            <a:buFont typeface="Arial" panose="020B0604020202020204" pitchFamily="34" charset="0"/>
            <a:buChar char="•"/>
          </a:pPr>
          <a:r>
            <a:rPr lang="de-DE" sz="1600" kern="1200" dirty="0"/>
            <a:t>Der Datensatz wird dem Artefakt mit dem benötigten Kontext übergeben, das Ergebnis des Artefakts wird mit dem Metawissen über den Datensatz verglichen.</a:t>
          </a:r>
          <a:br>
            <a:rPr lang="de-DE" sz="1600" kern="1200" dirty="0"/>
          </a:br>
          <a:r>
            <a:rPr lang="de-DE" sz="1600" kern="1200" dirty="0"/>
            <a:t>Bsp. Wenn ein Datensatz Frauen bei Beförderungen benachteiligen sollte, wir überprüft, ob das Artefakt das auch herausfinden kann</a:t>
          </a:r>
        </a:p>
      </dsp:txBody>
      <dsp:txXfrm>
        <a:off x="0" y="847747"/>
        <a:ext cx="11157741" cy="890100"/>
      </dsp:txXfrm>
    </dsp:sp>
    <dsp:sp modelId="{59A4E54E-7941-4883-9367-F8FA043E8803}">
      <dsp:nvSpPr>
        <dsp:cNvPr id="0" name=""/>
        <dsp:cNvSpPr/>
      </dsp:nvSpPr>
      <dsp:spPr>
        <a:xfrm>
          <a:off x="0" y="1733129"/>
          <a:ext cx="11157741" cy="804960"/>
        </a:xfrm>
        <a:prstGeom prst="roundRec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0010" tIns="80010" rIns="80010" bIns="80010" numCol="1" spcCol="1270" anchor="ctr" anchorCtr="0">
          <a:noAutofit/>
        </a:bodyPr>
        <a:lstStyle/>
        <a:p>
          <a:pPr marL="0" lvl="0" indent="0" algn="l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100" u="none" kern="1200" dirty="0"/>
            <a:t>2. Datensatz mit bekannten </a:t>
          </a:r>
          <a:r>
            <a:rPr lang="de-DE" sz="2100" u="none" kern="1200" dirty="0" err="1"/>
            <a:t>Biases</a:t>
          </a:r>
          <a:r>
            <a:rPr lang="de-DE" sz="2100" u="none" kern="1200" dirty="0"/>
            <a:t> und bereinigte Version des Datensatzes</a:t>
          </a:r>
        </a:p>
      </dsp:txBody>
      <dsp:txXfrm>
        <a:off x="39295" y="1772424"/>
        <a:ext cx="11079151" cy="726370"/>
      </dsp:txXfrm>
    </dsp:sp>
    <dsp:sp modelId="{85EABC74-0301-42D3-B6C6-B80A35738FDB}">
      <dsp:nvSpPr>
        <dsp:cNvPr id="0" name=""/>
        <dsp:cNvSpPr/>
      </dsp:nvSpPr>
      <dsp:spPr>
        <a:xfrm>
          <a:off x="0" y="2553368"/>
          <a:ext cx="11157741" cy="89010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54258" tIns="20320" rIns="113792" bIns="20320" numCol="1" spcCol="1270" anchor="t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de-DE" sz="1600" kern="1200" dirty="0"/>
            <a:t>Gleiches Prozedere wie bei der ersten Art, aber darauffolgend wird dem Artefakt noch eine bereinigte Version von dem Datensatz übergeben. Die beiden Ergebnisse werden danach verglichen.</a:t>
          </a:r>
          <a:br>
            <a:rPr lang="de-DE" sz="1600" kern="1200" dirty="0"/>
          </a:br>
          <a:r>
            <a:rPr lang="de-DE" sz="1600" kern="1200" dirty="0"/>
            <a:t>Bsp. Wenn ein Datensatz Frauen benachteiligt, der bereinigte Datensatz benachteiligt Frauen nicht mehr. Das Artefakt sollte bei beiden Datensätzen nicht das selbe Ergebnis liefern</a:t>
          </a:r>
          <a:endParaRPr lang="de-DE" sz="1600" u="sng" kern="1200" dirty="0"/>
        </a:p>
      </dsp:txBody>
      <dsp:txXfrm>
        <a:off x="0" y="2553368"/>
        <a:ext cx="11157741" cy="890100"/>
      </dsp:txXfrm>
    </dsp:sp>
    <dsp:sp modelId="{19091E62-5FD3-42FE-B4C7-36B2500CEFBD}">
      <dsp:nvSpPr>
        <dsp:cNvPr id="0" name=""/>
        <dsp:cNvSpPr/>
      </dsp:nvSpPr>
      <dsp:spPr>
        <a:xfrm>
          <a:off x="0" y="3424202"/>
          <a:ext cx="11157741" cy="804960"/>
        </a:xfrm>
        <a:prstGeom prst="roundRec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0010" tIns="80010" rIns="80010" bIns="80010" numCol="1" spcCol="1270" anchor="ctr" anchorCtr="0">
          <a:noAutofit/>
        </a:bodyPr>
        <a:lstStyle/>
        <a:p>
          <a:pPr marL="0" lvl="0" indent="0" algn="l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100" u="none" kern="1200" dirty="0"/>
            <a:t>3. Datensatz ohne bekannten Bias</a:t>
          </a:r>
        </a:p>
      </dsp:txBody>
      <dsp:txXfrm>
        <a:off x="39295" y="3463497"/>
        <a:ext cx="11079151" cy="726370"/>
      </dsp:txXfrm>
    </dsp:sp>
    <dsp:sp modelId="{31B992FA-1C71-4F0A-A331-B854503DAEC2}">
      <dsp:nvSpPr>
        <dsp:cNvPr id="0" name=""/>
        <dsp:cNvSpPr/>
      </dsp:nvSpPr>
      <dsp:spPr>
        <a:xfrm>
          <a:off x="0" y="4196166"/>
          <a:ext cx="11157741" cy="58743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54258" tIns="20320" rIns="113792" bIns="20320" numCol="1" spcCol="1270" anchor="t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de-DE" sz="1600" kern="1200" dirty="0"/>
            <a:t>Gleicher Ablauf wie bei der ersten Art, nur sind keine Metainformationen vorhanden. Die Ergebnisse werden dann erfasst.</a:t>
          </a:r>
        </a:p>
      </dsp:txBody>
      <dsp:txXfrm>
        <a:off x="0" y="4196166"/>
        <a:ext cx="11157741" cy="587430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8/layout/VerticalCurvedList">
  <dgm:title val=""/>
  <dgm:desc val=""/>
  <dgm:catLst>
    <dgm:cat type="list" pri="2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chPref val="7"/>
      <dgm:dir/>
    </dgm:varLst>
    <dgm:alg type="composite"/>
    <dgm:shape xmlns:r="http://schemas.openxmlformats.org/officeDocument/2006/relationships" r:blip="">
      <dgm:adjLst/>
    </dgm:shape>
    <dgm:constrLst>
      <dgm:constr type="w" for="ch" refType="h" refFor="ch" op="gte" fact="0.8"/>
    </dgm:constrLst>
    <dgm:layoutNode name="Name1">
      <dgm:alg type="composite"/>
      <dgm:shape xmlns:r="http://schemas.openxmlformats.org/officeDocument/2006/relationships" r:blip="">
        <dgm:adjLst/>
      </dgm:shape>
      <dgm:choose name="Name2">
        <dgm:if name="Name3" func="var" arg="dir" op="equ" val="norm">
          <dgm:choose name="Name4">
            <dgm:if name="Name5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h" fact="0.225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primFontSz" for="ch" ptType="node" op="equ" val="65"/>
              </dgm:constrLst>
            </dgm:if>
            <dgm:if name="Name6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h" fact="0.1891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h" fact="0.1891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primFontSz" for="ch" ptType="node" op="equ" val="65"/>
              </dgm:constrLst>
            </dgm:if>
            <dgm:if name="Name7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h" fact="0.1526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h" fact="0.2253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h" fact="0.1526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primFontSz" for="ch" ptType="node" op="equ" val="65"/>
              </dgm:constrLst>
            </dgm:if>
            <dgm:if name="Name8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h" fact="0.1268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h" fact="0.215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h" fact="0.21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h" fact="0.126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primFontSz" for="ch" ptType="node" op="equ" val="65"/>
              </dgm:constrLst>
            </dgm:if>
            <dgm:if name="Name9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h" fact="0.1082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h" fact="0.197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h" fact="0.2253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h" fact="0.197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h" fact="0.1082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primFontSz" for="ch" ptType="node" op="equ" val="65"/>
              </dgm:constrLst>
            </dgm:if>
            <dgm:if name="Name10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h" fact="0.094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h" fact="0.1809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h" fact="0.220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h" fact="0.2205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h" fact="0.18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h" fact="0.0943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primFontSz" for="ch" ptType="node" op="equ" val="65"/>
              </dgm:constrLst>
            </dgm:if>
            <dgm:else name="Name1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h" fact="0.0835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h" fact="0.165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h" fact="0.2109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h" fact="0.2253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h" fact="0.21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h" fact="0.1658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h" fact="0.0835"/>
                <dgm:constr type="l" for="ch" forName="text_7" refType="ctrX" refFor="ch" refForName="accent_7"/>
                <dgm:constr type="r" for="ch" forName="text_7" refType="w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lMarg" for="ch" forName="text_7" refType="w" refFor="ch" refForName="accent_7" fact="1.8"/>
                <dgm:constr type="primFontSz" for="ch" ptType="node" op="equ" val="65"/>
              </dgm:constrLst>
            </dgm:else>
          </dgm:choose>
        </dgm:if>
        <dgm:else name="Name12">
          <dgm:choose name="Name13">
            <dgm:if name="Name14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w"/>
                <dgm:constr type="ctrXOff" for="ch" forName="accent_1" refType="h" fact="-0.225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primFontSz" for="ch" ptType="node" op="equ" val="65"/>
              </dgm:constrLst>
            </dgm:if>
            <dgm:if name="Name15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w"/>
                <dgm:constr type="ctrXOff" for="ch" forName="accent_1" refType="h" fact="-0.1891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w"/>
                <dgm:constr type="ctrXOff" for="ch" forName="accent_2" refType="h" fact="-0.1891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primFontSz" for="ch" ptType="node" op="equ" val="65"/>
              </dgm:constrLst>
            </dgm:if>
            <dgm:if name="Name16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w"/>
                <dgm:constr type="ctrXOff" for="ch" forName="accent_1" refType="h" fact="-0.1526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w"/>
                <dgm:constr type="ctrXOff" for="ch" forName="accent_2" refType="h" fact="-0.2253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w"/>
                <dgm:constr type="ctrXOff" for="ch" forName="accent_3" refType="h" fact="-0.1526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primFontSz" for="ch" ptType="node" op="equ" val="65"/>
              </dgm:constrLst>
            </dgm:if>
            <dgm:if name="Name17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w"/>
                <dgm:constr type="ctrXOff" for="ch" forName="accent_1" refType="h" fact="-0.1268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w"/>
                <dgm:constr type="ctrXOff" for="ch" forName="accent_2" refType="h" fact="-0.215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w"/>
                <dgm:constr type="ctrXOff" for="ch" forName="accent_3" refType="h" fact="-0.21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w"/>
                <dgm:constr type="ctrXOff" for="ch" forName="accent_4" refType="h" fact="-0.126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primFontSz" for="ch" ptType="node" op="equ" val="65"/>
              </dgm:constrLst>
            </dgm:if>
            <dgm:if name="Name18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w"/>
                <dgm:constr type="ctrXOff" for="ch" forName="accent_1" refType="h" fact="-0.1082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w"/>
                <dgm:constr type="ctrXOff" for="ch" forName="accent_2" refType="h" fact="-0.197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w"/>
                <dgm:constr type="ctrXOff" for="ch" forName="accent_3" refType="h" fact="-0.2253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w"/>
                <dgm:constr type="ctrXOff" for="ch" forName="accent_4" refType="h" fact="-0.197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w"/>
                <dgm:constr type="ctrXOff" for="ch" forName="accent_5" refType="h" fact="-0.1082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primFontSz" for="ch" ptType="node" op="equ" val="65"/>
              </dgm:constrLst>
            </dgm:if>
            <dgm:if name="Name19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w"/>
                <dgm:constr type="ctrXOff" for="ch" forName="accent_1" refType="h" fact="-0.094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w"/>
                <dgm:constr type="ctrXOff" for="ch" forName="accent_2" refType="h" fact="-0.1809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w"/>
                <dgm:constr type="ctrXOff" for="ch" forName="accent_3" refType="h" fact="-0.220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w"/>
                <dgm:constr type="ctrXOff" for="ch" forName="accent_4" refType="h" fact="-0.2205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w"/>
                <dgm:constr type="ctrXOff" for="ch" forName="accent_5" refType="h" fact="-0.18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w"/>
                <dgm:constr type="ctrXOff" for="ch" forName="accent_6" refType="h" fact="-0.0943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primFontSz" for="ch" ptType="node" op="equ" val="65"/>
              </dgm:constrLst>
            </dgm:if>
            <dgm:else name="Name20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w"/>
                <dgm:constr type="ctrXOff" for="ch" forName="accent_1" refType="h" fact="-0.0835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w"/>
                <dgm:constr type="ctrXOff" for="ch" forName="accent_2" refType="h" fact="-0.165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w"/>
                <dgm:constr type="ctrXOff" for="ch" forName="accent_3" refType="h" fact="-0.2109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w"/>
                <dgm:constr type="ctrXOff" for="ch" forName="accent_4" refType="h" fact="-0.2253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w"/>
                <dgm:constr type="ctrXOff" for="ch" forName="accent_5" refType="h" fact="-0.21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w"/>
                <dgm:constr type="ctrXOff" for="ch" forName="accent_6" refType="h" fact="-0.1658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w"/>
                <dgm:constr type="ctrXOff" for="ch" forName="accent_7" refType="h" fact="-0.0835"/>
                <dgm:constr type="r" for="ch" forName="text_7" refType="ctrX" refFor="ch" refForName="accent_7"/>
                <dgm:constr type="rOff" for="ch" forName="text_7" refType="ctrXOff" refFor="ch" refForName="accent_7"/>
                <dgm:constr type="l" for="ch" forName="text_7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rMarg" for="ch" forName="text_7" refType="w" refFor="ch" refForName="accent_7" fact="1.8"/>
                <dgm:constr type="primFontSz" for="ch" ptType="node" op="equ" val="65"/>
              </dgm:constrLst>
            </dgm:else>
          </dgm:choose>
        </dgm:else>
      </dgm:choose>
      <dgm:layoutNode name="cycle">
        <dgm:choose name="Name21">
          <dgm:if name="Name22" func="var" arg="dir" op="equ" val="norm">
            <dgm:alg type="cycle">
              <dgm:param type="stAng" val="45"/>
              <dgm:param type="spanAng" val="90"/>
            </dgm:alg>
          </dgm:if>
          <dgm:else name="Name23">
            <dgm:alg type="cycle">
              <dgm:param type="stAng" val="225"/>
              <dgm:param type="spanAng" val="90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val="1"/>
          <dgm:constr type="h" for="ch" val="1"/>
          <dgm:constr type="diam" for="ch" forName="conn" refType="diam"/>
        </dgm:constrLst>
        <dgm:layoutNode name="src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conn" styleLbl="parChTrans1D2">
          <dgm:alg type="conn">
            <dgm:param type="connRout" val="curve"/>
            <dgm:param type="srcNode" val="srcNode"/>
            <dgm:param type="dstNode" val="dstNode"/>
            <dgm:param type="begPts" val="ctr"/>
            <dgm:param type="endPts" val="ctr"/>
            <dgm:param type="endSty" val="noArr"/>
          </dgm:alg>
          <dgm:shape xmlns:r="http://schemas.openxmlformats.org/officeDocument/2006/relationships" type="conn" r:blip="">
            <dgm:adjLst/>
          </dgm:shape>
          <dgm:presOf axis="desOrSelf" ptType="sibTrans" hideLastTrans="0" st="0" cnt="1"/>
          <dgm:constrLst>
            <dgm:constr type="begPad"/>
            <dgm:constr type="endPad"/>
          </dgm:constrLst>
        </dgm:layoutNode>
        <dgm:layoutNode name="extra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dstNode">
          <dgm:alg type="sp"/>
          <dgm:shape xmlns:r="http://schemas.openxmlformats.org/officeDocument/2006/relationships" type="rect" r:blip="" hideGeom="1">
            <dgm:adjLst/>
          </dgm:shape>
          <dgm:presOf/>
        </dgm:layoutNode>
      </dgm:layoutNode>
      <dgm:forEach name="wrapper" axis="self" ptType="parTrans">
        <dgm:forEach name="wrapper2" axis="self" ptType="sibTrans" st="2">
          <dgm:forEach name="accentRepeat" axis="self">
            <dgm:layoutNode name="accentRepeatNode" styleLbl="solidFgAcc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</dgm:forEach>
        </dgm:forEach>
      </dgm:forEach>
      <dgm:forEach name="Name24" axis="ch" ptType="node" cnt="1">
        <dgm:layoutNode name="text_1" styleLbl="node1">
          <dgm:varLst>
            <dgm:bulletEnabled val="1"/>
          </dgm:varLst>
          <dgm:choose name="Name25">
            <dgm:if name="Name2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2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1">
          <dgm:alg type="sp"/>
          <dgm:shape xmlns:r="http://schemas.openxmlformats.org/officeDocument/2006/relationships" r:blip="">
            <dgm:adjLst/>
          </dgm:shape>
          <dgm:presOf/>
          <dgm:constrLst/>
          <dgm:forEach name="Name28" ref="accentRepeat"/>
        </dgm:layoutNode>
      </dgm:forEach>
      <dgm:forEach name="Name29" axis="ch" ptType="node" st="2" cnt="1">
        <dgm:layoutNode name="text_2" styleLbl="node1">
          <dgm:varLst>
            <dgm:bulletEnabled val="1"/>
          </dgm:varLst>
          <dgm:choose name="Name30">
            <dgm:if name="Name3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2">
          <dgm:alg type="sp"/>
          <dgm:shape xmlns:r="http://schemas.openxmlformats.org/officeDocument/2006/relationships" r:blip="">
            <dgm:adjLst/>
          </dgm:shape>
          <dgm:presOf/>
          <dgm:constrLst/>
          <dgm:forEach name="Name33" ref="accentRepeat"/>
        </dgm:layoutNode>
      </dgm:forEach>
      <dgm:forEach name="Name34" axis="ch" ptType="node" st="3" cnt="1">
        <dgm:layoutNode name="text_3" styleLbl="node1">
          <dgm:varLst>
            <dgm:bulletEnabled val="1"/>
          </dgm:varLst>
          <dgm:choose name="Name35">
            <dgm:if name="Name3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3">
          <dgm:alg type="sp"/>
          <dgm:shape xmlns:r="http://schemas.openxmlformats.org/officeDocument/2006/relationships" r:blip="">
            <dgm:adjLst/>
          </dgm:shape>
          <dgm:presOf/>
          <dgm:constrLst/>
          <dgm:forEach name="Name38" ref="accentRepeat"/>
        </dgm:layoutNode>
      </dgm:forEach>
      <dgm:forEach name="Name39" axis="ch" ptType="node" st="4" cnt="1">
        <dgm:layoutNode name="text_4" styleLbl="node1">
          <dgm:varLst>
            <dgm:bulletEnabled val="1"/>
          </dgm:varLst>
          <dgm:choose name="Name40">
            <dgm:if name="Name4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4">
          <dgm:alg type="sp"/>
          <dgm:shape xmlns:r="http://schemas.openxmlformats.org/officeDocument/2006/relationships" r:blip="">
            <dgm:adjLst/>
          </dgm:shape>
          <dgm:presOf/>
          <dgm:constrLst/>
          <dgm:forEach name="Name43" ref="accentRepeat"/>
        </dgm:layoutNode>
      </dgm:forEach>
      <dgm:forEach name="Name44" axis="ch" ptType="node" st="5" cnt="1">
        <dgm:layoutNode name="text_5" styleLbl="node1">
          <dgm:varLst>
            <dgm:bulletEnabled val="1"/>
          </dgm:varLst>
          <dgm:choose name="Name45">
            <dgm:if name="Name4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5">
          <dgm:alg type="sp"/>
          <dgm:shape xmlns:r="http://schemas.openxmlformats.org/officeDocument/2006/relationships" r:blip="">
            <dgm:adjLst/>
          </dgm:shape>
          <dgm:presOf/>
          <dgm:constrLst/>
          <dgm:forEach name="Name48" ref="accentRepeat"/>
        </dgm:layoutNode>
      </dgm:forEach>
      <dgm:forEach name="Name49" axis="ch" ptType="node" st="6" cnt="1">
        <dgm:layoutNode name="text_6" styleLbl="node1">
          <dgm:varLst>
            <dgm:bulletEnabled val="1"/>
          </dgm:varLst>
          <dgm:choose name="Name50">
            <dgm:if name="Name5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6">
          <dgm:alg type="sp"/>
          <dgm:shape xmlns:r="http://schemas.openxmlformats.org/officeDocument/2006/relationships" r:blip="">
            <dgm:adjLst/>
          </dgm:shape>
          <dgm:presOf/>
          <dgm:constrLst/>
          <dgm:forEach name="Name53" ref="accentRepeat"/>
        </dgm:layoutNode>
      </dgm:forEach>
      <dgm:forEach name="Name54" axis="ch" ptType="node" st="7" cnt="1">
        <dgm:layoutNode name="text_7" styleLbl="node1">
          <dgm:varLst>
            <dgm:bulletEnabled val="1"/>
          </dgm:varLst>
          <dgm:choose name="Name55">
            <dgm:if name="Name5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7">
          <dgm:alg type="sp"/>
          <dgm:shape xmlns:r="http://schemas.openxmlformats.org/officeDocument/2006/relationships" r:blip="">
            <dgm:adjLst/>
          </dgm:shape>
          <dgm:presOf/>
          <dgm:constrLst/>
          <dgm:forEach name="Name58" ref="accentRepeat"/>
        </dgm:layoutNode>
      </dgm:forEach>
    </dgm:layoutNode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>
            <a:extLst>
              <a:ext uri="{FF2B5EF4-FFF2-40B4-BE49-F238E27FC236}">
                <a16:creationId xmlns:a16="http://schemas.microsoft.com/office/drawing/2014/main" id="{02C9555C-46DE-4406-8ABE-45349F5208F3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E4F3B590-57A4-4D61-9607-3C2EA36AB18B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88CE87A-16FF-4C7D-8292-0CB980715C8B}" type="datetimeFigureOut">
              <a:rPr lang="de-DE" smtClean="0"/>
              <a:t>19.12.2022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4C6DC5A1-1CCC-484A-AB24-DCA2F05D594A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24041CFA-48F6-4759-86C7-790FC637E93C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52F6222-CCA6-4FA7-88E0-B7BAE53645AA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4183288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DECA62E-2216-4960-A875-4D2633F4A404}" type="datetimeFigureOut">
              <a:rPr lang="de-DE" smtClean="0"/>
              <a:t>19.12.2022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1F93703-73BA-47D5-8B02-C172375928DA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5331441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3.emf"/><Relationship Id="rId5" Type="http://schemas.openxmlformats.org/officeDocument/2006/relationships/image" Target="../media/image2.jpeg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5" Type="http://schemas.openxmlformats.org/officeDocument/2006/relationships/image" Target="../media/image3.emf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svg"/><Relationship Id="rId3" Type="http://schemas.openxmlformats.org/officeDocument/2006/relationships/image" Target="../media/image3.emf"/><Relationship Id="rId7" Type="http://schemas.openxmlformats.org/officeDocument/2006/relationships/image" Target="../media/image8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7.svg"/><Relationship Id="rId5" Type="http://schemas.openxmlformats.org/officeDocument/2006/relationships/image" Target="../media/image6.png"/><Relationship Id="rId4" Type="http://schemas.openxmlformats.org/officeDocument/2006/relationships/image" Target="../media/image5.jpeg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6" Type="http://schemas.openxmlformats.org/officeDocument/2006/relationships/image" Target="../media/image3.emf"/><Relationship Id="rId5" Type="http://schemas.openxmlformats.org/officeDocument/2006/relationships/image" Target="../media/image4.jpeg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bild">
    <p:bg bwMode="black"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FA11ADF3-A31B-4EDC-8300-3E710D63EB4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468424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10" imgH="312" progId="TCLayout.ActiveDocument.1">
                  <p:embed/>
                </p:oleObj>
              </mc:Choice>
              <mc:Fallback>
                <p:oleObj name="think-cell Folie" r:id="rId3" imgW="310" imgH="312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FA11ADF3-A31B-4EDC-8300-3E710D63EB4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0" name="Bildplatzhalter 6">
            <a:extLst>
              <a:ext uri="{FF2B5EF4-FFF2-40B4-BE49-F238E27FC236}">
                <a16:creationId xmlns:a16="http://schemas.microsoft.com/office/drawing/2014/main" id="{EF473310-6F96-4F43-A21B-21F4329CDEC0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86" y="1627592"/>
            <a:ext cx="12192000" cy="5229226"/>
          </a:xfrm>
          <a:prstGeom prst="rect">
            <a:avLst/>
          </a:prstGeom>
        </p:spPr>
      </p:pic>
      <p:sp>
        <p:nvSpPr>
          <p:cNvPr id="168" name="Textplatzhalter 167">
            <a:extLst>
              <a:ext uri="{FF2B5EF4-FFF2-40B4-BE49-F238E27FC236}">
                <a16:creationId xmlns:a16="http://schemas.microsoft.com/office/drawing/2014/main" id="{91CA67B1-C872-42F5-99A5-C31B319F69A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invGray">
          <a:xfrm>
            <a:off x="0" y="1628775"/>
            <a:ext cx="12192000" cy="5229225"/>
          </a:xfrm>
          <a:gradFill>
            <a:gsLst>
              <a:gs pos="50000">
                <a:schemeClr val="accent3">
                  <a:alpha val="50000"/>
                </a:schemeClr>
              </a:gs>
              <a:gs pos="5000">
                <a:schemeClr val="accent3"/>
              </a:gs>
              <a:gs pos="100000">
                <a:schemeClr val="accent3">
                  <a:alpha val="20000"/>
                </a:schemeClr>
              </a:gs>
            </a:gsLst>
            <a:lin ang="5400000" scaled="1"/>
          </a:gradFill>
        </p:spPr>
        <p:txBody>
          <a:bodyPr vert="horz" wrap="square" lIns="540000" tIns="1188000" rIns="0" bIns="0" rtlCol="0" anchor="t" anchorCtr="0">
            <a:noAutofit/>
          </a:bodyPr>
          <a:lstStyle>
            <a:lvl1pPr>
              <a:defRPr lang="de-DE" sz="4000" b="1" dirty="0">
                <a:latin typeface="+mj-lt"/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de-DE" dirty="0"/>
              <a:t> </a:t>
            </a:r>
          </a:p>
        </p:txBody>
      </p:sp>
      <p:sp>
        <p:nvSpPr>
          <p:cNvPr id="6" name="Freihandform: Form 5">
            <a:extLst>
              <a:ext uri="{FF2B5EF4-FFF2-40B4-BE49-F238E27FC236}">
                <a16:creationId xmlns:a16="http://schemas.microsoft.com/office/drawing/2014/main" id="{DB0B422D-422E-4796-8EA3-E0C93BC35646}"/>
              </a:ext>
            </a:extLst>
          </p:cNvPr>
          <p:cNvSpPr/>
          <p:nvPr userDrawn="1"/>
        </p:nvSpPr>
        <p:spPr>
          <a:xfrm>
            <a:off x="10056938" y="300703"/>
            <a:ext cx="1619125" cy="618155"/>
          </a:xfrm>
          <a:custGeom>
            <a:avLst/>
            <a:gdLst>
              <a:gd name="connsiteX0" fmla="*/ 0 w 1456912"/>
              <a:gd name="connsiteY0" fmla="*/ 51854 h 556225"/>
              <a:gd name="connsiteX1" fmla="*/ 28188 w 1456912"/>
              <a:gd name="connsiteY1" fmla="*/ 23666 h 556225"/>
              <a:gd name="connsiteX2" fmla="*/ 28188 w 1456912"/>
              <a:gd name="connsiteY2" fmla="*/ 535557 h 556225"/>
              <a:gd name="connsiteX3" fmla="*/ 0 w 1456912"/>
              <a:gd name="connsiteY3" fmla="*/ 535557 h 556225"/>
              <a:gd name="connsiteX4" fmla="*/ 0 w 1456912"/>
              <a:gd name="connsiteY4" fmla="*/ 51854 h 556225"/>
              <a:gd name="connsiteX5" fmla="*/ 84564 w 1456912"/>
              <a:gd name="connsiteY5" fmla="*/ 28188 h 556225"/>
              <a:gd name="connsiteX6" fmla="*/ 422811 w 1456912"/>
              <a:gd name="connsiteY6" fmla="*/ 28188 h 556225"/>
              <a:gd name="connsiteX7" fmla="*/ 422811 w 1456912"/>
              <a:gd name="connsiteY7" fmla="*/ 0 h 556225"/>
              <a:gd name="connsiteX8" fmla="*/ 56376 w 1456912"/>
              <a:gd name="connsiteY8" fmla="*/ 0 h 556225"/>
              <a:gd name="connsiteX9" fmla="*/ 56376 w 1456912"/>
              <a:gd name="connsiteY9" fmla="*/ 338244 h 556225"/>
              <a:gd name="connsiteX10" fmla="*/ 367711 w 1456912"/>
              <a:gd name="connsiteY10" fmla="*/ 338244 h 556225"/>
              <a:gd name="connsiteX11" fmla="*/ 367711 w 1456912"/>
              <a:gd name="connsiteY11" fmla="*/ 310062 h 556225"/>
              <a:gd name="connsiteX12" fmla="*/ 84564 w 1456912"/>
              <a:gd name="connsiteY12" fmla="*/ 310062 h 556225"/>
              <a:gd name="connsiteX13" fmla="*/ 84564 w 1456912"/>
              <a:gd name="connsiteY13" fmla="*/ 28188 h 556225"/>
              <a:gd name="connsiteX14" fmla="*/ 410152 w 1456912"/>
              <a:gd name="connsiteY14" fmla="*/ 253686 h 556225"/>
              <a:gd name="connsiteX15" fmla="*/ 140937 w 1456912"/>
              <a:gd name="connsiteY15" fmla="*/ 253686 h 556225"/>
              <a:gd name="connsiteX16" fmla="*/ 140937 w 1456912"/>
              <a:gd name="connsiteY16" fmla="*/ 140940 h 556225"/>
              <a:gd name="connsiteX17" fmla="*/ 371171 w 1456912"/>
              <a:gd name="connsiteY17" fmla="*/ 140940 h 556225"/>
              <a:gd name="connsiteX18" fmla="*/ 399359 w 1456912"/>
              <a:gd name="connsiteY18" fmla="*/ 112752 h 556225"/>
              <a:gd name="connsiteX19" fmla="*/ 140937 w 1456912"/>
              <a:gd name="connsiteY19" fmla="*/ 112752 h 556225"/>
              <a:gd name="connsiteX20" fmla="*/ 140937 w 1456912"/>
              <a:gd name="connsiteY20" fmla="*/ 84564 h 556225"/>
              <a:gd name="connsiteX21" fmla="*/ 422811 w 1456912"/>
              <a:gd name="connsiteY21" fmla="*/ 84564 h 556225"/>
              <a:gd name="connsiteX22" fmla="*/ 422811 w 1456912"/>
              <a:gd name="connsiteY22" fmla="*/ 56376 h 556225"/>
              <a:gd name="connsiteX23" fmla="*/ 112749 w 1456912"/>
              <a:gd name="connsiteY23" fmla="*/ 56376 h 556225"/>
              <a:gd name="connsiteX24" fmla="*/ 112749 w 1456912"/>
              <a:gd name="connsiteY24" fmla="*/ 281874 h 556225"/>
              <a:gd name="connsiteX25" fmla="*/ 382334 w 1456912"/>
              <a:gd name="connsiteY25" fmla="*/ 281874 h 556225"/>
              <a:gd name="connsiteX26" fmla="*/ 410152 w 1456912"/>
              <a:gd name="connsiteY26" fmla="*/ 253686 h 556225"/>
              <a:gd name="connsiteX27" fmla="*/ 56376 w 1456912"/>
              <a:gd name="connsiteY27" fmla="*/ 535557 h 556225"/>
              <a:gd name="connsiteX28" fmla="*/ 84564 w 1456912"/>
              <a:gd name="connsiteY28" fmla="*/ 535557 h 556225"/>
              <a:gd name="connsiteX29" fmla="*/ 84564 w 1456912"/>
              <a:gd name="connsiteY29" fmla="*/ 394620 h 556225"/>
              <a:gd name="connsiteX30" fmla="*/ 112752 w 1456912"/>
              <a:gd name="connsiteY30" fmla="*/ 394620 h 556225"/>
              <a:gd name="connsiteX31" fmla="*/ 112752 w 1456912"/>
              <a:gd name="connsiteY31" fmla="*/ 511890 h 556225"/>
              <a:gd name="connsiteX32" fmla="*/ 140940 w 1456912"/>
              <a:gd name="connsiteY32" fmla="*/ 483705 h 556225"/>
              <a:gd name="connsiteX33" fmla="*/ 140940 w 1456912"/>
              <a:gd name="connsiteY33" fmla="*/ 394620 h 556225"/>
              <a:gd name="connsiteX34" fmla="*/ 367714 w 1456912"/>
              <a:gd name="connsiteY34" fmla="*/ 394620 h 556225"/>
              <a:gd name="connsiteX35" fmla="*/ 367714 w 1456912"/>
              <a:gd name="connsiteY35" fmla="*/ 366435 h 556225"/>
              <a:gd name="connsiteX36" fmla="*/ 56376 w 1456912"/>
              <a:gd name="connsiteY36" fmla="*/ 366435 h 556225"/>
              <a:gd name="connsiteX37" fmla="*/ 56376 w 1456912"/>
              <a:gd name="connsiteY37" fmla="*/ 535557 h 556225"/>
              <a:gd name="connsiteX38" fmla="*/ 1428724 w 1456912"/>
              <a:gd name="connsiteY38" fmla="*/ 0 h 556225"/>
              <a:gd name="connsiteX39" fmla="*/ 1428724 w 1456912"/>
              <a:gd name="connsiteY39" fmla="*/ 324156 h 556225"/>
              <a:gd name="connsiteX40" fmla="*/ 1316539 w 1456912"/>
              <a:gd name="connsiteY40" fmla="*/ 514089 h 556225"/>
              <a:gd name="connsiteX41" fmla="*/ 1315903 w 1456912"/>
              <a:gd name="connsiteY41" fmla="*/ 513258 h 556225"/>
              <a:gd name="connsiteX42" fmla="*/ 1400536 w 1456912"/>
              <a:gd name="connsiteY42" fmla="*/ 351869 h 556225"/>
              <a:gd name="connsiteX43" fmla="*/ 1400536 w 1456912"/>
              <a:gd name="connsiteY43" fmla="*/ 3 h 556225"/>
              <a:gd name="connsiteX44" fmla="*/ 1372348 w 1456912"/>
              <a:gd name="connsiteY44" fmla="*/ 3 h 556225"/>
              <a:gd name="connsiteX45" fmla="*/ 1372348 w 1456912"/>
              <a:gd name="connsiteY45" fmla="*/ 351400 h 556225"/>
              <a:gd name="connsiteX46" fmla="*/ 1189132 w 1456912"/>
              <a:gd name="connsiteY46" fmla="*/ 528510 h 556225"/>
              <a:gd name="connsiteX47" fmla="*/ 1005916 w 1456912"/>
              <a:gd name="connsiteY47" fmla="*/ 351400 h 556225"/>
              <a:gd name="connsiteX48" fmla="*/ 1005916 w 1456912"/>
              <a:gd name="connsiteY48" fmla="*/ 23666 h 556225"/>
              <a:gd name="connsiteX49" fmla="*/ 977728 w 1456912"/>
              <a:gd name="connsiteY49" fmla="*/ 51854 h 556225"/>
              <a:gd name="connsiteX50" fmla="*/ 977728 w 1456912"/>
              <a:gd name="connsiteY50" fmla="*/ 351869 h 556225"/>
              <a:gd name="connsiteX51" fmla="*/ 1189132 w 1456912"/>
              <a:gd name="connsiteY51" fmla="*/ 556226 h 556225"/>
              <a:gd name="connsiteX52" fmla="*/ 1217320 w 1456912"/>
              <a:gd name="connsiteY52" fmla="*/ 556226 h 556225"/>
              <a:gd name="connsiteX53" fmla="*/ 1456912 w 1456912"/>
              <a:gd name="connsiteY53" fmla="*/ 324566 h 556225"/>
              <a:gd name="connsiteX54" fmla="*/ 1456912 w 1456912"/>
              <a:gd name="connsiteY54" fmla="*/ 0 h 556225"/>
              <a:gd name="connsiteX55" fmla="*/ 1428724 w 1456912"/>
              <a:gd name="connsiteY55" fmla="*/ 0 h 556225"/>
              <a:gd name="connsiteX56" fmla="*/ 1189132 w 1456912"/>
              <a:gd name="connsiteY56" fmla="*/ 500322 h 556225"/>
              <a:gd name="connsiteX57" fmla="*/ 1344160 w 1456912"/>
              <a:gd name="connsiteY57" fmla="*/ 351400 h 556225"/>
              <a:gd name="connsiteX58" fmla="*/ 1344160 w 1456912"/>
              <a:gd name="connsiteY58" fmla="*/ 351400 h 556225"/>
              <a:gd name="connsiteX59" fmla="*/ 1344160 w 1456912"/>
              <a:gd name="connsiteY59" fmla="*/ 23666 h 556225"/>
              <a:gd name="connsiteX60" fmla="*/ 1315972 w 1456912"/>
              <a:gd name="connsiteY60" fmla="*/ 51854 h 556225"/>
              <a:gd name="connsiteX61" fmla="*/ 1315972 w 1456912"/>
              <a:gd name="connsiteY61" fmla="*/ 324153 h 556225"/>
              <a:gd name="connsiteX62" fmla="*/ 1217317 w 1456912"/>
              <a:gd name="connsiteY62" fmla="*/ 415761 h 556225"/>
              <a:gd name="connsiteX63" fmla="*/ 1118662 w 1456912"/>
              <a:gd name="connsiteY63" fmla="*/ 324153 h 556225"/>
              <a:gd name="connsiteX64" fmla="*/ 1118662 w 1456912"/>
              <a:gd name="connsiteY64" fmla="*/ 3 h 556225"/>
              <a:gd name="connsiteX65" fmla="*/ 1090474 w 1456912"/>
              <a:gd name="connsiteY65" fmla="*/ 3 h 556225"/>
              <a:gd name="connsiteX66" fmla="*/ 1090474 w 1456912"/>
              <a:gd name="connsiteY66" fmla="*/ 324156 h 556225"/>
              <a:gd name="connsiteX67" fmla="*/ 1217317 w 1456912"/>
              <a:gd name="connsiteY67" fmla="*/ 443951 h 556225"/>
              <a:gd name="connsiteX68" fmla="*/ 1304349 w 1456912"/>
              <a:gd name="connsiteY68" fmla="*/ 404889 h 556225"/>
              <a:gd name="connsiteX69" fmla="*/ 1304982 w 1456912"/>
              <a:gd name="connsiteY69" fmla="*/ 405720 h 556225"/>
              <a:gd name="connsiteX70" fmla="*/ 1189129 w 1456912"/>
              <a:gd name="connsiteY70" fmla="*/ 472139 h 556225"/>
              <a:gd name="connsiteX71" fmla="*/ 1062303 w 1456912"/>
              <a:gd name="connsiteY71" fmla="*/ 352344 h 556225"/>
              <a:gd name="connsiteX72" fmla="*/ 1062286 w 1456912"/>
              <a:gd name="connsiteY72" fmla="*/ 352344 h 556225"/>
              <a:gd name="connsiteX73" fmla="*/ 1062286 w 1456912"/>
              <a:gd name="connsiteY73" fmla="*/ 3 h 556225"/>
              <a:gd name="connsiteX74" fmla="*/ 1034098 w 1456912"/>
              <a:gd name="connsiteY74" fmla="*/ 3 h 556225"/>
              <a:gd name="connsiteX75" fmla="*/ 1034098 w 1456912"/>
              <a:gd name="connsiteY75" fmla="*/ 352341 h 556225"/>
              <a:gd name="connsiteX76" fmla="*/ 1034113 w 1456912"/>
              <a:gd name="connsiteY76" fmla="*/ 352341 h 556225"/>
              <a:gd name="connsiteX77" fmla="*/ 1189132 w 1456912"/>
              <a:gd name="connsiteY77" fmla="*/ 500322 h 556225"/>
              <a:gd name="connsiteX78" fmla="*/ 562774 w 1456912"/>
              <a:gd name="connsiteY78" fmla="*/ 366435 h 556225"/>
              <a:gd name="connsiteX79" fmla="*/ 491494 w 1456912"/>
              <a:gd name="connsiteY79" fmla="*/ 535557 h 556225"/>
              <a:gd name="connsiteX80" fmla="*/ 519684 w 1456912"/>
              <a:gd name="connsiteY80" fmla="*/ 535554 h 556225"/>
              <a:gd name="connsiteX81" fmla="*/ 519682 w 1456912"/>
              <a:gd name="connsiteY81" fmla="*/ 535557 h 556225"/>
              <a:gd name="connsiteX82" fmla="*/ 519684 w 1456912"/>
              <a:gd name="connsiteY82" fmla="*/ 535557 h 556225"/>
              <a:gd name="connsiteX83" fmla="*/ 555322 w 1456912"/>
              <a:gd name="connsiteY83" fmla="*/ 450996 h 556225"/>
              <a:gd name="connsiteX84" fmla="*/ 794138 w 1456912"/>
              <a:gd name="connsiteY84" fmla="*/ 450996 h 556225"/>
              <a:gd name="connsiteX85" fmla="*/ 829744 w 1456912"/>
              <a:gd name="connsiteY85" fmla="*/ 535557 h 556225"/>
              <a:gd name="connsiteX86" fmla="*/ 857932 w 1456912"/>
              <a:gd name="connsiteY86" fmla="*/ 535557 h 556225"/>
              <a:gd name="connsiteX87" fmla="*/ 810457 w 1456912"/>
              <a:gd name="connsiteY87" fmla="*/ 422808 h 556225"/>
              <a:gd name="connsiteX88" fmla="*/ 567200 w 1456912"/>
              <a:gd name="connsiteY88" fmla="*/ 422808 h 556225"/>
              <a:gd name="connsiteX89" fmla="*/ 579078 w 1456912"/>
              <a:gd name="connsiteY89" fmla="*/ 394620 h 556225"/>
              <a:gd name="connsiteX90" fmla="*/ 826776 w 1456912"/>
              <a:gd name="connsiteY90" fmla="*/ 394620 h 556225"/>
              <a:gd name="connsiteX91" fmla="*/ 886120 w 1456912"/>
              <a:gd name="connsiteY91" fmla="*/ 535557 h 556225"/>
              <a:gd name="connsiteX92" fmla="*/ 914308 w 1456912"/>
              <a:gd name="connsiteY92" fmla="*/ 535557 h 556225"/>
              <a:gd name="connsiteX93" fmla="*/ 843097 w 1456912"/>
              <a:gd name="connsiteY93" fmla="*/ 366435 h 556225"/>
              <a:gd name="connsiteX94" fmla="*/ 562774 w 1456912"/>
              <a:gd name="connsiteY94" fmla="*/ 366435 h 556225"/>
              <a:gd name="connsiteX95" fmla="*/ 604248 w 1456912"/>
              <a:gd name="connsiteY95" fmla="*/ 0 h 556225"/>
              <a:gd name="connsiteX96" fmla="*/ 397091 w 1456912"/>
              <a:gd name="connsiteY96" fmla="*/ 491374 h 556225"/>
              <a:gd name="connsiteX97" fmla="*/ 415032 w 1456912"/>
              <a:gd name="connsiteY97" fmla="*/ 515732 h 556225"/>
              <a:gd name="connsiteX98" fmla="*/ 632437 w 1456912"/>
              <a:gd name="connsiteY98" fmla="*/ 0 h 556225"/>
              <a:gd name="connsiteX99" fmla="*/ 604248 w 1456912"/>
              <a:gd name="connsiteY99" fmla="*/ 0 h 556225"/>
              <a:gd name="connsiteX100" fmla="*/ 716998 w 1456912"/>
              <a:gd name="connsiteY100" fmla="*/ 3 h 556225"/>
              <a:gd name="connsiteX101" fmla="*/ 934130 w 1456912"/>
              <a:gd name="connsiteY101" fmla="*/ 515735 h 556225"/>
              <a:gd name="connsiteX102" fmla="*/ 952028 w 1456912"/>
              <a:gd name="connsiteY102" fmla="*/ 491377 h 556225"/>
              <a:gd name="connsiteX103" fmla="*/ 745186 w 1456912"/>
              <a:gd name="connsiteY103" fmla="*/ 3 h 556225"/>
              <a:gd name="connsiteX104" fmla="*/ 716998 w 1456912"/>
              <a:gd name="connsiteY104" fmla="*/ 3 h 556225"/>
              <a:gd name="connsiteX105" fmla="*/ 546409 w 1456912"/>
              <a:gd name="connsiteY105" fmla="*/ 338247 h 556225"/>
              <a:gd name="connsiteX106" fmla="*/ 463042 w 1456912"/>
              <a:gd name="connsiteY106" fmla="*/ 535557 h 556225"/>
              <a:gd name="connsiteX107" fmla="*/ 434854 w 1456912"/>
              <a:gd name="connsiteY107" fmla="*/ 535557 h 556225"/>
              <a:gd name="connsiteX108" fmla="*/ 646528 w 1456912"/>
              <a:gd name="connsiteY108" fmla="*/ 33467 h 556225"/>
              <a:gd name="connsiteX109" fmla="*/ 762988 w 1456912"/>
              <a:gd name="connsiteY109" fmla="*/ 310059 h 556225"/>
              <a:gd name="connsiteX110" fmla="*/ 791176 w 1456912"/>
              <a:gd name="connsiteY110" fmla="*/ 310059 h 556225"/>
              <a:gd name="connsiteX111" fmla="*/ 660624 w 1456912"/>
              <a:gd name="connsiteY111" fmla="*/ 3 h 556225"/>
              <a:gd name="connsiteX112" fmla="*/ 688812 w 1456912"/>
              <a:gd name="connsiteY112" fmla="*/ 3 h 556225"/>
              <a:gd name="connsiteX113" fmla="*/ 831231 w 1456912"/>
              <a:gd name="connsiteY113" fmla="*/ 338247 h 556225"/>
              <a:gd name="connsiteX114" fmla="*/ 546409 w 1456912"/>
              <a:gd name="connsiteY114" fmla="*/ 338247 h 556225"/>
              <a:gd name="connsiteX115" fmla="*/ 674788 w 1456912"/>
              <a:gd name="connsiteY115" fmla="*/ 167531 h 556225"/>
              <a:gd name="connsiteX116" fmla="*/ 614721 w 1456912"/>
              <a:gd name="connsiteY116" fmla="*/ 310062 h 556225"/>
              <a:gd name="connsiteX117" fmla="*/ 734800 w 1456912"/>
              <a:gd name="connsiteY117" fmla="*/ 310062 h 556225"/>
              <a:gd name="connsiteX118" fmla="*/ 674788 w 1456912"/>
              <a:gd name="connsiteY118" fmla="*/ 167531 h 556225"/>
              <a:gd name="connsiteX119" fmla="*/ 558275 w 1456912"/>
              <a:gd name="connsiteY119" fmla="*/ 310062 h 556225"/>
              <a:gd name="connsiteX120" fmla="*/ 586535 w 1456912"/>
              <a:gd name="connsiteY120" fmla="*/ 310062 h 556225"/>
              <a:gd name="connsiteX121" fmla="*/ 660703 w 1456912"/>
              <a:gd name="connsiteY121" fmla="*/ 134072 h 556225"/>
              <a:gd name="connsiteX122" fmla="*/ 646588 w 1456912"/>
              <a:gd name="connsiteY122" fmla="*/ 100553 h 556225"/>
              <a:gd name="connsiteX123" fmla="*/ 558275 w 1456912"/>
              <a:gd name="connsiteY123" fmla="*/ 310062 h 5562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</a:cxnLst>
            <a:rect l="l" t="t" r="r" b="b"/>
            <a:pathLst>
              <a:path w="1456912" h="556225">
                <a:moveTo>
                  <a:pt x="0" y="51854"/>
                </a:moveTo>
                <a:lnTo>
                  <a:pt x="28188" y="23666"/>
                </a:lnTo>
                <a:lnTo>
                  <a:pt x="28188" y="535557"/>
                </a:lnTo>
                <a:lnTo>
                  <a:pt x="0" y="535557"/>
                </a:lnTo>
                <a:lnTo>
                  <a:pt x="0" y="51854"/>
                </a:lnTo>
                <a:close/>
                <a:moveTo>
                  <a:pt x="84564" y="28188"/>
                </a:moveTo>
                <a:lnTo>
                  <a:pt x="422811" y="28188"/>
                </a:lnTo>
                <a:lnTo>
                  <a:pt x="422811" y="0"/>
                </a:lnTo>
                <a:lnTo>
                  <a:pt x="56376" y="0"/>
                </a:lnTo>
                <a:lnTo>
                  <a:pt x="56376" y="338244"/>
                </a:lnTo>
                <a:lnTo>
                  <a:pt x="367711" y="338244"/>
                </a:lnTo>
                <a:lnTo>
                  <a:pt x="367711" y="310062"/>
                </a:lnTo>
                <a:lnTo>
                  <a:pt x="84564" y="310062"/>
                </a:lnTo>
                <a:lnTo>
                  <a:pt x="84564" y="28188"/>
                </a:lnTo>
                <a:close/>
                <a:moveTo>
                  <a:pt x="410152" y="253686"/>
                </a:moveTo>
                <a:lnTo>
                  <a:pt x="140937" y="253686"/>
                </a:lnTo>
                <a:lnTo>
                  <a:pt x="140937" y="140940"/>
                </a:lnTo>
                <a:lnTo>
                  <a:pt x="371171" y="140940"/>
                </a:lnTo>
                <a:lnTo>
                  <a:pt x="399359" y="112752"/>
                </a:lnTo>
                <a:lnTo>
                  <a:pt x="140937" y="112752"/>
                </a:lnTo>
                <a:lnTo>
                  <a:pt x="140937" y="84564"/>
                </a:lnTo>
                <a:lnTo>
                  <a:pt x="422811" y="84564"/>
                </a:lnTo>
                <a:lnTo>
                  <a:pt x="422811" y="56376"/>
                </a:lnTo>
                <a:lnTo>
                  <a:pt x="112749" y="56376"/>
                </a:lnTo>
                <a:lnTo>
                  <a:pt x="112749" y="281874"/>
                </a:lnTo>
                <a:lnTo>
                  <a:pt x="382334" y="281874"/>
                </a:lnTo>
                <a:lnTo>
                  <a:pt x="410152" y="253686"/>
                </a:lnTo>
                <a:close/>
                <a:moveTo>
                  <a:pt x="56376" y="535557"/>
                </a:moveTo>
                <a:lnTo>
                  <a:pt x="84564" y="535557"/>
                </a:lnTo>
                <a:lnTo>
                  <a:pt x="84564" y="394620"/>
                </a:lnTo>
                <a:lnTo>
                  <a:pt x="112752" y="394620"/>
                </a:lnTo>
                <a:lnTo>
                  <a:pt x="112752" y="511890"/>
                </a:lnTo>
                <a:lnTo>
                  <a:pt x="140940" y="483705"/>
                </a:lnTo>
                <a:lnTo>
                  <a:pt x="140940" y="394620"/>
                </a:lnTo>
                <a:lnTo>
                  <a:pt x="367714" y="394620"/>
                </a:lnTo>
                <a:lnTo>
                  <a:pt x="367714" y="366435"/>
                </a:lnTo>
                <a:lnTo>
                  <a:pt x="56376" y="366435"/>
                </a:lnTo>
                <a:lnTo>
                  <a:pt x="56376" y="535557"/>
                </a:lnTo>
                <a:close/>
                <a:moveTo>
                  <a:pt x="1428724" y="0"/>
                </a:moveTo>
                <a:lnTo>
                  <a:pt x="1428724" y="324156"/>
                </a:lnTo>
                <a:cubicBezTo>
                  <a:pt x="1428724" y="399584"/>
                  <a:pt x="1395069" y="464387"/>
                  <a:pt x="1316539" y="514089"/>
                </a:cubicBezTo>
                <a:lnTo>
                  <a:pt x="1315903" y="513258"/>
                </a:lnTo>
                <a:cubicBezTo>
                  <a:pt x="1367503" y="472336"/>
                  <a:pt x="1400536" y="419773"/>
                  <a:pt x="1400536" y="351869"/>
                </a:cubicBezTo>
                <a:lnTo>
                  <a:pt x="1400536" y="3"/>
                </a:lnTo>
                <a:lnTo>
                  <a:pt x="1372348" y="3"/>
                </a:lnTo>
                <a:lnTo>
                  <a:pt x="1372348" y="351400"/>
                </a:lnTo>
                <a:cubicBezTo>
                  <a:pt x="1372348" y="452590"/>
                  <a:pt x="1290318" y="528510"/>
                  <a:pt x="1189132" y="528510"/>
                </a:cubicBezTo>
                <a:cubicBezTo>
                  <a:pt x="1087946" y="528510"/>
                  <a:pt x="1005916" y="452587"/>
                  <a:pt x="1005916" y="351400"/>
                </a:cubicBezTo>
                <a:lnTo>
                  <a:pt x="1005916" y="23666"/>
                </a:lnTo>
                <a:lnTo>
                  <a:pt x="977728" y="51854"/>
                </a:lnTo>
                <a:lnTo>
                  <a:pt x="977728" y="351869"/>
                </a:lnTo>
                <a:cubicBezTo>
                  <a:pt x="977728" y="468625"/>
                  <a:pt x="1072376" y="556226"/>
                  <a:pt x="1189132" y="556226"/>
                </a:cubicBezTo>
                <a:cubicBezTo>
                  <a:pt x="1191834" y="556226"/>
                  <a:pt x="1217320" y="556226"/>
                  <a:pt x="1217320" y="556226"/>
                </a:cubicBezTo>
                <a:cubicBezTo>
                  <a:pt x="1332291" y="556226"/>
                  <a:pt x="1456912" y="471321"/>
                  <a:pt x="1456912" y="324566"/>
                </a:cubicBezTo>
                <a:cubicBezTo>
                  <a:pt x="1456912" y="324428"/>
                  <a:pt x="1456912" y="0"/>
                  <a:pt x="1456912" y="0"/>
                </a:cubicBezTo>
                <a:lnTo>
                  <a:pt x="1428724" y="0"/>
                </a:lnTo>
                <a:close/>
                <a:moveTo>
                  <a:pt x="1189132" y="500322"/>
                </a:moveTo>
                <a:cubicBezTo>
                  <a:pt x="1274706" y="500322"/>
                  <a:pt x="1344082" y="436948"/>
                  <a:pt x="1344160" y="351400"/>
                </a:cubicBezTo>
                <a:lnTo>
                  <a:pt x="1344160" y="351400"/>
                </a:lnTo>
                <a:lnTo>
                  <a:pt x="1344160" y="23666"/>
                </a:lnTo>
                <a:lnTo>
                  <a:pt x="1315972" y="51854"/>
                </a:lnTo>
                <a:lnTo>
                  <a:pt x="1315972" y="324153"/>
                </a:lnTo>
                <a:cubicBezTo>
                  <a:pt x="1315972" y="378637"/>
                  <a:pt x="1271801" y="415761"/>
                  <a:pt x="1217317" y="415761"/>
                </a:cubicBezTo>
                <a:cubicBezTo>
                  <a:pt x="1162833" y="415761"/>
                  <a:pt x="1118662" y="378637"/>
                  <a:pt x="1118662" y="324153"/>
                </a:cubicBezTo>
                <a:lnTo>
                  <a:pt x="1118662" y="3"/>
                </a:lnTo>
                <a:lnTo>
                  <a:pt x="1090474" y="3"/>
                </a:lnTo>
                <a:lnTo>
                  <a:pt x="1090474" y="324156"/>
                </a:lnTo>
                <a:cubicBezTo>
                  <a:pt x="1090474" y="394209"/>
                  <a:pt x="1147264" y="443951"/>
                  <a:pt x="1217317" y="443951"/>
                </a:cubicBezTo>
                <a:cubicBezTo>
                  <a:pt x="1245962" y="443951"/>
                  <a:pt x="1280732" y="429800"/>
                  <a:pt x="1304349" y="404889"/>
                </a:cubicBezTo>
                <a:lnTo>
                  <a:pt x="1304982" y="405720"/>
                </a:lnTo>
                <a:cubicBezTo>
                  <a:pt x="1282838" y="446784"/>
                  <a:pt x="1241907" y="472139"/>
                  <a:pt x="1189129" y="472139"/>
                </a:cubicBezTo>
                <a:cubicBezTo>
                  <a:pt x="1119507" y="472139"/>
                  <a:pt x="1062992" y="421734"/>
                  <a:pt x="1062303" y="352344"/>
                </a:cubicBezTo>
                <a:lnTo>
                  <a:pt x="1062286" y="352344"/>
                </a:lnTo>
                <a:lnTo>
                  <a:pt x="1062286" y="3"/>
                </a:lnTo>
                <a:lnTo>
                  <a:pt x="1034098" y="3"/>
                </a:lnTo>
                <a:lnTo>
                  <a:pt x="1034098" y="352341"/>
                </a:lnTo>
                <a:lnTo>
                  <a:pt x="1034113" y="352341"/>
                </a:lnTo>
                <a:cubicBezTo>
                  <a:pt x="1034703" y="437411"/>
                  <a:pt x="1103877" y="500322"/>
                  <a:pt x="1189132" y="500322"/>
                </a:cubicBezTo>
                <a:close/>
                <a:moveTo>
                  <a:pt x="562774" y="366435"/>
                </a:moveTo>
                <a:lnTo>
                  <a:pt x="491494" y="535557"/>
                </a:lnTo>
                <a:lnTo>
                  <a:pt x="519684" y="535554"/>
                </a:lnTo>
                <a:lnTo>
                  <a:pt x="519682" y="535557"/>
                </a:lnTo>
                <a:lnTo>
                  <a:pt x="519684" y="535557"/>
                </a:lnTo>
                <a:lnTo>
                  <a:pt x="555322" y="450996"/>
                </a:lnTo>
                <a:lnTo>
                  <a:pt x="794138" y="450996"/>
                </a:lnTo>
                <a:lnTo>
                  <a:pt x="829744" y="535557"/>
                </a:lnTo>
                <a:lnTo>
                  <a:pt x="857932" y="535557"/>
                </a:lnTo>
                <a:lnTo>
                  <a:pt x="810457" y="422808"/>
                </a:lnTo>
                <a:lnTo>
                  <a:pt x="567200" y="422808"/>
                </a:lnTo>
                <a:lnTo>
                  <a:pt x="579078" y="394620"/>
                </a:lnTo>
                <a:lnTo>
                  <a:pt x="826776" y="394620"/>
                </a:lnTo>
                <a:lnTo>
                  <a:pt x="886120" y="535557"/>
                </a:lnTo>
                <a:lnTo>
                  <a:pt x="914308" y="535557"/>
                </a:lnTo>
                <a:lnTo>
                  <a:pt x="843097" y="366435"/>
                </a:lnTo>
                <a:lnTo>
                  <a:pt x="562774" y="366435"/>
                </a:lnTo>
                <a:close/>
                <a:moveTo>
                  <a:pt x="604248" y="0"/>
                </a:moveTo>
                <a:lnTo>
                  <a:pt x="397091" y="491374"/>
                </a:lnTo>
                <a:lnTo>
                  <a:pt x="415032" y="515732"/>
                </a:lnTo>
                <a:lnTo>
                  <a:pt x="632437" y="0"/>
                </a:lnTo>
                <a:lnTo>
                  <a:pt x="604248" y="0"/>
                </a:lnTo>
                <a:close/>
                <a:moveTo>
                  <a:pt x="716998" y="3"/>
                </a:moveTo>
                <a:lnTo>
                  <a:pt x="934130" y="515735"/>
                </a:lnTo>
                <a:lnTo>
                  <a:pt x="952028" y="491377"/>
                </a:lnTo>
                <a:lnTo>
                  <a:pt x="745186" y="3"/>
                </a:lnTo>
                <a:lnTo>
                  <a:pt x="716998" y="3"/>
                </a:lnTo>
                <a:close/>
                <a:moveTo>
                  <a:pt x="546409" y="338247"/>
                </a:moveTo>
                <a:lnTo>
                  <a:pt x="463042" y="535557"/>
                </a:lnTo>
                <a:lnTo>
                  <a:pt x="434854" y="535557"/>
                </a:lnTo>
                <a:lnTo>
                  <a:pt x="646528" y="33467"/>
                </a:lnTo>
                <a:lnTo>
                  <a:pt x="762988" y="310059"/>
                </a:lnTo>
                <a:lnTo>
                  <a:pt x="791176" y="310059"/>
                </a:lnTo>
                <a:lnTo>
                  <a:pt x="660624" y="3"/>
                </a:lnTo>
                <a:lnTo>
                  <a:pt x="688812" y="3"/>
                </a:lnTo>
                <a:lnTo>
                  <a:pt x="831231" y="338247"/>
                </a:lnTo>
                <a:lnTo>
                  <a:pt x="546409" y="338247"/>
                </a:lnTo>
                <a:close/>
                <a:moveTo>
                  <a:pt x="674788" y="167531"/>
                </a:moveTo>
                <a:lnTo>
                  <a:pt x="614721" y="310062"/>
                </a:lnTo>
                <a:lnTo>
                  <a:pt x="734800" y="310062"/>
                </a:lnTo>
                <a:lnTo>
                  <a:pt x="674788" y="167531"/>
                </a:lnTo>
                <a:close/>
                <a:moveTo>
                  <a:pt x="558275" y="310062"/>
                </a:moveTo>
                <a:lnTo>
                  <a:pt x="586535" y="310062"/>
                </a:lnTo>
                <a:lnTo>
                  <a:pt x="660703" y="134072"/>
                </a:lnTo>
                <a:lnTo>
                  <a:pt x="646588" y="100553"/>
                </a:lnTo>
                <a:lnTo>
                  <a:pt x="558275" y="310062"/>
                </a:lnTo>
                <a:close/>
              </a:path>
            </a:pathLst>
          </a:custGeom>
          <a:solidFill>
            <a:schemeClr val="tx1"/>
          </a:solidFill>
          <a:ln w="2892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286" name="Rechteck 285">
            <a:extLst>
              <a:ext uri="{FF2B5EF4-FFF2-40B4-BE49-F238E27FC236}">
                <a16:creationId xmlns:a16="http://schemas.microsoft.com/office/drawing/2014/main" id="{E92F8CF9-198A-4C8B-9010-0DB32F87536F}"/>
              </a:ext>
            </a:extLst>
          </p:cNvPr>
          <p:cNvSpPr/>
          <p:nvPr userDrawn="1"/>
        </p:nvSpPr>
        <p:spPr>
          <a:xfrm>
            <a:off x="518400" y="1413835"/>
            <a:ext cx="11676062" cy="72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104" name="Grafik 103">
            <a:extLst>
              <a:ext uri="{FF2B5EF4-FFF2-40B4-BE49-F238E27FC236}">
                <a16:creationId xmlns:a16="http://schemas.microsoft.com/office/drawing/2014/main" id="{7922E846-554F-4AB9-AC00-AEF207AD9863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509578" y="293687"/>
            <a:ext cx="2604169" cy="556887"/>
          </a:xfrm>
          <a:prstGeom prst="rect">
            <a:avLst/>
          </a:prstGeom>
        </p:spPr>
      </p:pic>
      <p:sp>
        <p:nvSpPr>
          <p:cNvPr id="41" name="Titel 1">
            <a:extLst>
              <a:ext uri="{FF2B5EF4-FFF2-40B4-BE49-F238E27FC236}">
                <a16:creationId xmlns:a16="http://schemas.microsoft.com/office/drawing/2014/main" id="{4241266C-710C-4440-8C07-9EDA09237E6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20163" y="2913731"/>
            <a:ext cx="11153677" cy="1030539"/>
          </a:xfrm>
        </p:spPr>
        <p:txBody>
          <a:bodyPr vert="horz" wrap="square" tIns="0" rIns="0" anchor="ctr" anchorCtr="0">
            <a:noAutofit/>
          </a:bodyPr>
          <a:lstStyle>
            <a:lvl1pPr algn="l">
              <a:lnSpc>
                <a:spcPct val="110000"/>
              </a:lnSpc>
              <a:defRPr sz="540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&lt;Thema&gt;</a:t>
            </a:r>
          </a:p>
        </p:txBody>
      </p:sp>
      <p:sp>
        <p:nvSpPr>
          <p:cNvPr id="42" name="Textplatzhalter 7">
            <a:extLst>
              <a:ext uri="{FF2B5EF4-FFF2-40B4-BE49-F238E27FC236}">
                <a16:creationId xmlns:a16="http://schemas.microsoft.com/office/drawing/2014/main" id="{B1A45644-0A0D-495F-9640-025D2292580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20163" y="5005511"/>
            <a:ext cx="11153677" cy="437236"/>
          </a:xfrm>
        </p:spPr>
        <p:txBody>
          <a:bodyPr wrap="square">
            <a:spAutoFit/>
          </a:bodyPr>
          <a:lstStyle>
            <a:lvl1pPr>
              <a:defRPr sz="2800"/>
            </a:lvl1pPr>
          </a:lstStyle>
          <a:p>
            <a:pPr lvl="0"/>
            <a:r>
              <a:rPr lang="de-DE" noProof="0" dirty="0"/>
              <a:t>&lt;Titel der Veranstaltung&gt; | &lt;Semester&gt;</a:t>
            </a:r>
          </a:p>
        </p:txBody>
      </p:sp>
      <p:sp>
        <p:nvSpPr>
          <p:cNvPr id="43" name="Textplatzhalter 9">
            <a:extLst>
              <a:ext uri="{FF2B5EF4-FFF2-40B4-BE49-F238E27FC236}">
                <a16:creationId xmlns:a16="http://schemas.microsoft.com/office/drawing/2014/main" id="{672CF738-3D16-42E1-97DE-60D7B23DE59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20163" y="6200775"/>
            <a:ext cx="11153677" cy="431800"/>
          </a:xfrm>
        </p:spPr>
        <p:txBody>
          <a:bodyPr rIns="0" anchor="ctr"/>
          <a:lstStyle>
            <a:lvl1pPr>
              <a:defRPr/>
            </a:lvl1pPr>
          </a:lstStyle>
          <a:p>
            <a:pPr lvl="0"/>
            <a:r>
              <a:rPr lang="de-DE" dirty="0"/>
              <a:t>Lehrstuhl für Digital Industrial Service Systems | &lt;Dozent&gt;</a:t>
            </a:r>
          </a:p>
        </p:txBody>
      </p:sp>
    </p:spTree>
    <p:extLst>
      <p:ext uri="{BB962C8B-B14F-4D97-AF65-F5344CB8AC3E}">
        <p14:creationId xmlns:p14="http://schemas.microsoft.com/office/powerpoint/2010/main" val="333094228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- Bild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5E0522E-4B59-4195-AD23-1DB4381AB6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4F67F0B-0D69-4F2E-A0A2-F8FA26E3BF7C}" type="datetime4">
              <a:rPr lang="de-DE" smtClean="0"/>
              <a:t>19. Dezember 2022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0F6FD0B-B0A5-4052-BAB6-95BD027E8C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15937" y="6634666"/>
            <a:ext cx="9574509" cy="123111"/>
          </a:xfrm>
        </p:spPr>
        <p:txBody>
          <a:bodyPr/>
          <a:lstStyle/>
          <a:p>
            <a:r>
              <a:rPr lang="de-DE"/>
              <a:t>… | Lehrstuhl für Digital Industrial Service Systems | &lt;Name des Dozenten&gt;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0385CA6-0215-4C6D-9658-F37EA26CE8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1" name="Textplatzhalter 9">
            <a:extLst>
              <a:ext uri="{FF2B5EF4-FFF2-40B4-BE49-F238E27FC236}">
                <a16:creationId xmlns:a16="http://schemas.microsoft.com/office/drawing/2014/main" id="{391E3CF3-4749-4988-84A7-41187275F95B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518319" y="1631157"/>
            <a:ext cx="5469732" cy="4569619"/>
          </a:xfrm>
        </p:spPr>
        <p:txBody>
          <a:bodyPr wrap="square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de-DE" noProof="0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8531AA6C-45F6-4DAB-84E5-02BCC876C604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18319" y="6221277"/>
            <a:ext cx="11157742" cy="132149"/>
          </a:xfrm>
        </p:spPr>
        <p:txBody>
          <a:bodyPr rIns="0">
            <a:noAutofit/>
          </a:bodyPr>
          <a:lstStyle>
            <a:lvl1pPr algn="r">
              <a:lnSpc>
                <a:spcPct val="100000"/>
              </a:lnSpc>
              <a:spcAft>
                <a:spcPts val="0"/>
              </a:spcAft>
              <a:defRPr sz="8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lvl="0"/>
            <a:r>
              <a:rPr lang="de-DE" dirty="0"/>
              <a:t>Quelle:</a:t>
            </a:r>
          </a:p>
        </p:txBody>
      </p:sp>
      <p:sp>
        <p:nvSpPr>
          <p:cNvPr id="18" name="Titelplatzhalter 1">
            <a:extLst>
              <a:ext uri="{FF2B5EF4-FFF2-40B4-BE49-F238E27FC236}">
                <a16:creationId xmlns:a16="http://schemas.microsoft.com/office/drawing/2014/main" id="{8D91CC63-EC57-4924-A724-1CDFF2666E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8318" y="301183"/>
            <a:ext cx="9574509" cy="666000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rmAutofit/>
          </a:bodyPr>
          <a:lstStyle/>
          <a:p>
            <a:r>
              <a:rPr lang="de-DE" noProof="0" dirty="0"/>
              <a:t>[Action-Title]: Kernaussage des Bilds ausdrücken, </a:t>
            </a:r>
            <a:br>
              <a:rPr lang="de-DE" noProof="0" dirty="0"/>
            </a:br>
            <a:r>
              <a:rPr lang="de-DE" noProof="0" dirty="0"/>
              <a:t>maximal zwei Zeilen, „sprechende Titel“</a:t>
            </a:r>
            <a:endParaRPr lang="de-DE" dirty="0"/>
          </a:p>
        </p:txBody>
      </p:sp>
      <p:sp>
        <p:nvSpPr>
          <p:cNvPr id="19" name="Textplatzhalter 6">
            <a:extLst>
              <a:ext uri="{FF2B5EF4-FFF2-40B4-BE49-F238E27FC236}">
                <a16:creationId xmlns:a16="http://schemas.microsoft.com/office/drawing/2014/main" id="{E76EDA7A-C3DC-4A17-8264-EF17021BD3D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8318" y="987403"/>
            <a:ext cx="9574510" cy="281103"/>
          </a:xfrm>
        </p:spPr>
        <p:txBody>
          <a:bodyPr anchor="ctr">
            <a:normAutofit/>
          </a:bodyPr>
          <a:lstStyle>
            <a:lvl1pPr>
              <a:defRPr sz="1800">
                <a:solidFill>
                  <a:srgbClr val="041E4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3"/>
              </a:buClr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noProof="0" dirty="0"/>
              <a:t>[</a:t>
            </a:r>
            <a:r>
              <a:rPr lang="de-DE" noProof="0" dirty="0" err="1"/>
              <a:t>Subtitle</a:t>
            </a:r>
            <a:r>
              <a:rPr lang="de-DE" noProof="0" dirty="0"/>
              <a:t>]: Zusammenfassung in Stichwörtern, keine Sätze</a:t>
            </a:r>
          </a:p>
        </p:txBody>
      </p:sp>
      <p:sp>
        <p:nvSpPr>
          <p:cNvPr id="6" name="Bildplatzhalter 5">
            <a:extLst>
              <a:ext uri="{FF2B5EF4-FFF2-40B4-BE49-F238E27FC236}">
                <a16:creationId xmlns:a16="http://schemas.microsoft.com/office/drawing/2014/main" id="{C430DEB5-C59E-46B3-A544-7EB8BB997497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6206329" y="1631156"/>
            <a:ext cx="5469732" cy="4569619"/>
          </a:xfrm>
          <a:solidFill>
            <a:schemeClr val="bg1">
              <a:lumMod val="95000"/>
            </a:schemeClr>
          </a:solidFill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03547468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- Text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5E0522E-4B59-4195-AD23-1DB4381AB6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E42F941-E76D-416A-AF33-65B53D3785A5}" type="datetime4">
              <a:rPr lang="de-DE" smtClean="0"/>
              <a:t>19. Dezember 2022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0F6FD0B-B0A5-4052-BAB6-95BD027E8C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15937" y="6634666"/>
            <a:ext cx="9574509" cy="123111"/>
          </a:xfrm>
        </p:spPr>
        <p:txBody>
          <a:bodyPr/>
          <a:lstStyle/>
          <a:p>
            <a:r>
              <a:rPr lang="de-DE"/>
              <a:t>… | Lehrstuhl für Digital Industrial Service Systems | &lt;Name des Dozenten&gt;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0385CA6-0215-4C6D-9658-F37EA26CE8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6" name="Bildplatzhalter 5">
            <a:extLst>
              <a:ext uri="{FF2B5EF4-FFF2-40B4-BE49-F238E27FC236}">
                <a16:creationId xmlns:a16="http://schemas.microsoft.com/office/drawing/2014/main" id="{C430DEB5-C59E-46B3-A544-7EB8BB997497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518319" y="1631157"/>
            <a:ext cx="5469732" cy="4569619"/>
          </a:xfrm>
          <a:solidFill>
            <a:schemeClr val="bg1">
              <a:lumMod val="95000"/>
            </a:schemeClr>
          </a:solidFill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 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8531AA6C-45F6-4DAB-84E5-02BCC876C604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18319" y="6221277"/>
            <a:ext cx="11157742" cy="132149"/>
          </a:xfrm>
        </p:spPr>
        <p:txBody>
          <a:bodyPr rIns="0">
            <a:noAutofit/>
          </a:bodyPr>
          <a:lstStyle>
            <a:lvl1pPr algn="r">
              <a:lnSpc>
                <a:spcPct val="100000"/>
              </a:lnSpc>
              <a:spcAft>
                <a:spcPts val="0"/>
              </a:spcAft>
              <a:defRPr sz="8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lvl="0"/>
            <a:r>
              <a:rPr lang="de-DE" dirty="0"/>
              <a:t>Quelle:</a:t>
            </a:r>
          </a:p>
        </p:txBody>
      </p:sp>
      <p:sp>
        <p:nvSpPr>
          <p:cNvPr id="18" name="Titelplatzhalter 1">
            <a:extLst>
              <a:ext uri="{FF2B5EF4-FFF2-40B4-BE49-F238E27FC236}">
                <a16:creationId xmlns:a16="http://schemas.microsoft.com/office/drawing/2014/main" id="{8D91CC63-EC57-4924-A724-1CDFF2666E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8318" y="301183"/>
            <a:ext cx="9574509" cy="666000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rmAutofit/>
          </a:bodyPr>
          <a:lstStyle/>
          <a:p>
            <a:r>
              <a:rPr lang="de-DE" noProof="0" dirty="0"/>
              <a:t>[Action-Title]: Kernaussage des Bilds ausdrücken, </a:t>
            </a:r>
            <a:br>
              <a:rPr lang="de-DE" noProof="0" dirty="0"/>
            </a:br>
            <a:r>
              <a:rPr lang="de-DE" noProof="0" dirty="0"/>
              <a:t>maximal zwei Zeilen, „sprechende Titel“</a:t>
            </a:r>
            <a:endParaRPr lang="de-DE" dirty="0"/>
          </a:p>
        </p:txBody>
      </p:sp>
      <p:sp>
        <p:nvSpPr>
          <p:cNvPr id="19" name="Textplatzhalter 6">
            <a:extLst>
              <a:ext uri="{FF2B5EF4-FFF2-40B4-BE49-F238E27FC236}">
                <a16:creationId xmlns:a16="http://schemas.microsoft.com/office/drawing/2014/main" id="{E76EDA7A-C3DC-4A17-8264-EF17021BD3D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8318" y="987403"/>
            <a:ext cx="9574510" cy="281103"/>
          </a:xfrm>
        </p:spPr>
        <p:txBody>
          <a:bodyPr anchor="ctr">
            <a:normAutofit/>
          </a:bodyPr>
          <a:lstStyle>
            <a:lvl1pPr>
              <a:defRPr sz="1800">
                <a:solidFill>
                  <a:srgbClr val="041E4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3"/>
              </a:buClr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noProof="0" dirty="0"/>
              <a:t>[</a:t>
            </a:r>
            <a:r>
              <a:rPr lang="de-DE" noProof="0" dirty="0" err="1"/>
              <a:t>Subtitle</a:t>
            </a:r>
            <a:r>
              <a:rPr lang="de-DE" noProof="0" dirty="0"/>
              <a:t>]: Zusammenfassung in Stichwörtern, keine Sätze</a:t>
            </a:r>
          </a:p>
        </p:txBody>
      </p:sp>
      <p:sp>
        <p:nvSpPr>
          <p:cNvPr id="11" name="Textplatzhalter 9">
            <a:extLst>
              <a:ext uri="{FF2B5EF4-FFF2-40B4-BE49-F238E27FC236}">
                <a16:creationId xmlns:a16="http://schemas.microsoft.com/office/drawing/2014/main" id="{391E3CF3-4749-4988-84A7-41187275F95B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6206329" y="1631156"/>
            <a:ext cx="5469732" cy="4569619"/>
          </a:xfrm>
        </p:spPr>
        <p:txBody>
          <a:bodyPr wrap="square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321633565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folie | mit Stör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Bildplatzhalter 5">
            <a:extLst>
              <a:ext uri="{FF2B5EF4-FFF2-40B4-BE49-F238E27FC236}">
                <a16:creationId xmlns:a16="http://schemas.microsoft.com/office/drawing/2014/main" id="{C430DEB5-C59E-46B3-A544-7EB8BB997497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0" y="0"/>
            <a:ext cx="12192000" cy="6857999"/>
          </a:xfrm>
          <a:solidFill>
            <a:schemeClr val="bg1">
              <a:lumMod val="95000"/>
            </a:schemeClr>
          </a:solidFill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 </a:t>
            </a:r>
          </a:p>
        </p:txBody>
      </p:sp>
      <p:sp>
        <p:nvSpPr>
          <p:cNvPr id="11" name="Textplatzhalter 9">
            <a:extLst>
              <a:ext uri="{FF2B5EF4-FFF2-40B4-BE49-F238E27FC236}">
                <a16:creationId xmlns:a16="http://schemas.microsoft.com/office/drawing/2014/main" id="{391E3CF3-4749-4988-84A7-41187275F95B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518319" y="3431382"/>
            <a:ext cx="3571199" cy="2769394"/>
          </a:xfrm>
          <a:solidFill>
            <a:schemeClr val="bg2"/>
          </a:solidFill>
        </p:spPr>
        <p:txBody>
          <a:bodyPr wrap="square" lIns="180000" tIns="180000" bIns="180000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405255044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folie | 1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5E0522E-4B59-4195-AD23-1DB4381AB6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83FEB1C-484B-4899-98E6-EB362BE13A10}" type="datetime4">
              <a:rPr lang="de-DE" smtClean="0"/>
              <a:t>19. Dezember 2022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0F6FD0B-B0A5-4052-BAB6-95BD027E8C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15937" y="6634666"/>
            <a:ext cx="9574509" cy="123111"/>
          </a:xfrm>
        </p:spPr>
        <p:txBody>
          <a:bodyPr/>
          <a:lstStyle/>
          <a:p>
            <a:r>
              <a:rPr lang="de-DE"/>
              <a:t>… | Lehrstuhl für Digital Industrial Service Systems | &lt;Name des Dozenten&gt;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0385CA6-0215-4C6D-9658-F37EA26CE8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8531AA6C-45F6-4DAB-84E5-02BCC876C604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18319" y="6221277"/>
            <a:ext cx="11157742" cy="132149"/>
          </a:xfrm>
        </p:spPr>
        <p:txBody>
          <a:bodyPr rIns="0">
            <a:noAutofit/>
          </a:bodyPr>
          <a:lstStyle>
            <a:lvl1pPr algn="r">
              <a:lnSpc>
                <a:spcPct val="100000"/>
              </a:lnSpc>
              <a:spcAft>
                <a:spcPts val="0"/>
              </a:spcAft>
              <a:defRPr sz="8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lvl="0"/>
            <a:r>
              <a:rPr lang="de-DE" dirty="0"/>
              <a:t>Quelle:</a:t>
            </a:r>
          </a:p>
        </p:txBody>
      </p:sp>
      <p:sp>
        <p:nvSpPr>
          <p:cNvPr id="18" name="Titelplatzhalter 1">
            <a:extLst>
              <a:ext uri="{FF2B5EF4-FFF2-40B4-BE49-F238E27FC236}">
                <a16:creationId xmlns:a16="http://schemas.microsoft.com/office/drawing/2014/main" id="{8D91CC63-EC57-4924-A724-1CDFF2666E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8318" y="301183"/>
            <a:ext cx="9574509" cy="666000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rmAutofit/>
          </a:bodyPr>
          <a:lstStyle/>
          <a:p>
            <a:r>
              <a:rPr lang="de-DE" noProof="0" dirty="0"/>
              <a:t>[Action-Title]: Kernaussage des Bilds ausdrücken, </a:t>
            </a:r>
            <a:br>
              <a:rPr lang="de-DE" noProof="0" dirty="0"/>
            </a:br>
            <a:r>
              <a:rPr lang="de-DE" noProof="0" dirty="0"/>
              <a:t>maximal zwei Zeilen, „sprechende Titel“</a:t>
            </a:r>
            <a:endParaRPr lang="de-DE" dirty="0"/>
          </a:p>
        </p:txBody>
      </p:sp>
      <p:sp>
        <p:nvSpPr>
          <p:cNvPr id="19" name="Textplatzhalter 6">
            <a:extLst>
              <a:ext uri="{FF2B5EF4-FFF2-40B4-BE49-F238E27FC236}">
                <a16:creationId xmlns:a16="http://schemas.microsoft.com/office/drawing/2014/main" id="{E76EDA7A-C3DC-4A17-8264-EF17021BD3D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8318" y="987403"/>
            <a:ext cx="9574510" cy="281103"/>
          </a:xfrm>
        </p:spPr>
        <p:txBody>
          <a:bodyPr anchor="ctr">
            <a:normAutofit/>
          </a:bodyPr>
          <a:lstStyle>
            <a:lvl1pPr>
              <a:defRPr sz="1800">
                <a:solidFill>
                  <a:srgbClr val="041E4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3"/>
              </a:buClr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noProof="0" dirty="0"/>
              <a:t>[</a:t>
            </a:r>
            <a:r>
              <a:rPr lang="de-DE" noProof="0" dirty="0" err="1"/>
              <a:t>Subtitle</a:t>
            </a:r>
            <a:r>
              <a:rPr lang="de-DE" noProof="0" dirty="0"/>
              <a:t>]: Zusammenfassung in Stichwörtern, keine Sätze</a:t>
            </a:r>
          </a:p>
        </p:txBody>
      </p:sp>
      <p:sp>
        <p:nvSpPr>
          <p:cNvPr id="6" name="Bildplatzhalter 5">
            <a:extLst>
              <a:ext uri="{FF2B5EF4-FFF2-40B4-BE49-F238E27FC236}">
                <a16:creationId xmlns:a16="http://schemas.microsoft.com/office/drawing/2014/main" id="{6108856A-1EE1-4005-9979-7573C6030809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518319" y="1631156"/>
            <a:ext cx="11157742" cy="3951163"/>
          </a:xfrm>
          <a:solidFill>
            <a:schemeClr val="bg1">
              <a:lumMod val="95000"/>
            </a:schemeClr>
          </a:solidFill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 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B415DB86-72ED-45B4-8011-E6610E41A9E3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518319" y="5690271"/>
            <a:ext cx="11157742" cy="511084"/>
          </a:xfrm>
        </p:spPr>
        <p:txBody>
          <a:bodyPr>
            <a:normAutofit/>
          </a:bodyPr>
          <a:lstStyle>
            <a:lvl1pPr>
              <a:defRPr sz="1400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3"/>
              </a:buClr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dirty="0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01039078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folie | 2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5E0522E-4B59-4195-AD23-1DB4381AB6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DEAF896-8D1C-46DE-9E9E-9010894131BC}" type="datetime4">
              <a:rPr lang="de-DE" smtClean="0"/>
              <a:t>19. Dezember 2022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0F6FD0B-B0A5-4052-BAB6-95BD027E8C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15937" y="6634666"/>
            <a:ext cx="9574509" cy="123111"/>
          </a:xfrm>
        </p:spPr>
        <p:txBody>
          <a:bodyPr/>
          <a:lstStyle/>
          <a:p>
            <a:r>
              <a:rPr lang="de-DE"/>
              <a:t>… | Lehrstuhl für Digital Industrial Service Systems | &lt;Name des Dozenten&gt;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0385CA6-0215-4C6D-9658-F37EA26CE8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8531AA6C-45F6-4DAB-84E5-02BCC876C604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18319" y="6221277"/>
            <a:ext cx="11157742" cy="132149"/>
          </a:xfrm>
        </p:spPr>
        <p:txBody>
          <a:bodyPr rIns="0">
            <a:noAutofit/>
          </a:bodyPr>
          <a:lstStyle>
            <a:lvl1pPr algn="r">
              <a:lnSpc>
                <a:spcPct val="100000"/>
              </a:lnSpc>
              <a:spcAft>
                <a:spcPts val="0"/>
              </a:spcAft>
              <a:defRPr sz="8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lvl="0"/>
            <a:r>
              <a:rPr lang="de-DE" dirty="0"/>
              <a:t>Quelle:</a:t>
            </a:r>
          </a:p>
        </p:txBody>
      </p:sp>
      <p:sp>
        <p:nvSpPr>
          <p:cNvPr id="18" name="Titelplatzhalter 1">
            <a:extLst>
              <a:ext uri="{FF2B5EF4-FFF2-40B4-BE49-F238E27FC236}">
                <a16:creationId xmlns:a16="http://schemas.microsoft.com/office/drawing/2014/main" id="{8D91CC63-EC57-4924-A724-1CDFF2666E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8318" y="301183"/>
            <a:ext cx="9574509" cy="666000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rmAutofit/>
          </a:bodyPr>
          <a:lstStyle/>
          <a:p>
            <a:r>
              <a:rPr lang="de-DE" noProof="0" dirty="0"/>
              <a:t>[Action-Title]: Kernaussage des Bilds ausdrücken, </a:t>
            </a:r>
            <a:br>
              <a:rPr lang="de-DE" noProof="0" dirty="0"/>
            </a:br>
            <a:r>
              <a:rPr lang="de-DE" noProof="0" dirty="0"/>
              <a:t>maximal zwei Zeilen, „sprechende Titel“</a:t>
            </a:r>
            <a:endParaRPr lang="de-DE" dirty="0"/>
          </a:p>
        </p:txBody>
      </p:sp>
      <p:sp>
        <p:nvSpPr>
          <p:cNvPr id="19" name="Textplatzhalter 6">
            <a:extLst>
              <a:ext uri="{FF2B5EF4-FFF2-40B4-BE49-F238E27FC236}">
                <a16:creationId xmlns:a16="http://schemas.microsoft.com/office/drawing/2014/main" id="{E76EDA7A-C3DC-4A17-8264-EF17021BD3D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8318" y="987403"/>
            <a:ext cx="9574510" cy="281103"/>
          </a:xfrm>
        </p:spPr>
        <p:txBody>
          <a:bodyPr anchor="ctr">
            <a:normAutofit/>
          </a:bodyPr>
          <a:lstStyle>
            <a:lvl1pPr>
              <a:defRPr sz="1800">
                <a:solidFill>
                  <a:srgbClr val="041E4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3"/>
              </a:buClr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noProof="0" dirty="0"/>
              <a:t>[</a:t>
            </a:r>
            <a:r>
              <a:rPr lang="de-DE" noProof="0" dirty="0" err="1"/>
              <a:t>Subtitle</a:t>
            </a:r>
            <a:r>
              <a:rPr lang="de-DE" noProof="0" dirty="0"/>
              <a:t>]: Zusammenfassung in Stichwörtern, keine Sätze</a:t>
            </a:r>
          </a:p>
        </p:txBody>
      </p:sp>
      <p:sp>
        <p:nvSpPr>
          <p:cNvPr id="6" name="Bildplatzhalter 5">
            <a:extLst>
              <a:ext uri="{FF2B5EF4-FFF2-40B4-BE49-F238E27FC236}">
                <a16:creationId xmlns:a16="http://schemas.microsoft.com/office/drawing/2014/main" id="{6108856A-1EE1-4005-9979-7573C6030809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518319" y="1631156"/>
            <a:ext cx="5469732" cy="3951163"/>
          </a:xfrm>
          <a:solidFill>
            <a:schemeClr val="bg1">
              <a:lumMod val="95000"/>
            </a:schemeClr>
          </a:solidFill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 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B415DB86-72ED-45B4-8011-E6610E41A9E3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518319" y="5690271"/>
            <a:ext cx="5469732" cy="511084"/>
          </a:xfrm>
        </p:spPr>
        <p:txBody>
          <a:bodyPr>
            <a:normAutofit/>
          </a:bodyPr>
          <a:lstStyle>
            <a:lvl1pPr>
              <a:defRPr sz="1400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3"/>
              </a:buClr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dirty="0"/>
              <a:t>Mastertextformat bearbeiten</a:t>
            </a:r>
          </a:p>
        </p:txBody>
      </p:sp>
      <p:sp>
        <p:nvSpPr>
          <p:cNvPr id="7" name="Bildplatzhalter 6">
            <a:extLst>
              <a:ext uri="{FF2B5EF4-FFF2-40B4-BE49-F238E27FC236}">
                <a16:creationId xmlns:a16="http://schemas.microsoft.com/office/drawing/2014/main" id="{7AEA8F67-E60D-40EF-B469-0865A9BBB6C5}"/>
              </a:ext>
            </a:extLst>
          </p:cNvPr>
          <p:cNvSpPr>
            <a:spLocks noGrp="1"/>
          </p:cNvSpPr>
          <p:nvPr>
            <p:ph type="pic" sz="quarter" idx="42" hasCustomPrompt="1"/>
          </p:nvPr>
        </p:nvSpPr>
        <p:spPr>
          <a:xfrm>
            <a:off x="6206329" y="1631156"/>
            <a:ext cx="5469732" cy="3951163"/>
          </a:xfrm>
          <a:solidFill>
            <a:schemeClr val="bg1">
              <a:lumMod val="95000"/>
            </a:schemeClr>
          </a:solidFill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 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A3234D82-3D7C-4C35-ACF1-5A06F1E2F098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6206329" y="5689692"/>
            <a:ext cx="5469732" cy="511084"/>
          </a:xfrm>
        </p:spPr>
        <p:txBody>
          <a:bodyPr>
            <a:normAutofit/>
          </a:bodyPr>
          <a:lstStyle>
            <a:lvl1pPr>
              <a:defRPr sz="1400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3"/>
              </a:buClr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dirty="0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256273717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folie | 3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5E0522E-4B59-4195-AD23-1DB4381AB6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23CC76E-A77D-4F48-8F46-063559FB155D}" type="datetime4">
              <a:rPr lang="de-DE" smtClean="0"/>
              <a:t>19. Dezember 2022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0F6FD0B-B0A5-4052-BAB6-95BD027E8C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15937" y="6634666"/>
            <a:ext cx="9574509" cy="123111"/>
          </a:xfrm>
        </p:spPr>
        <p:txBody>
          <a:bodyPr/>
          <a:lstStyle/>
          <a:p>
            <a:r>
              <a:rPr lang="de-DE"/>
              <a:t>… | Lehrstuhl für Digital Industrial Service Systems | &lt;Name des Dozenten&gt;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0385CA6-0215-4C6D-9658-F37EA26CE8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8531AA6C-45F6-4DAB-84E5-02BCC876C604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18319" y="6221277"/>
            <a:ext cx="11157742" cy="132149"/>
          </a:xfrm>
        </p:spPr>
        <p:txBody>
          <a:bodyPr rIns="0">
            <a:noAutofit/>
          </a:bodyPr>
          <a:lstStyle>
            <a:lvl1pPr algn="r">
              <a:lnSpc>
                <a:spcPct val="100000"/>
              </a:lnSpc>
              <a:spcAft>
                <a:spcPts val="0"/>
              </a:spcAft>
              <a:defRPr sz="8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lvl="0"/>
            <a:r>
              <a:rPr lang="de-DE" dirty="0"/>
              <a:t>Quelle:</a:t>
            </a:r>
          </a:p>
        </p:txBody>
      </p:sp>
      <p:sp>
        <p:nvSpPr>
          <p:cNvPr id="18" name="Titelplatzhalter 1">
            <a:extLst>
              <a:ext uri="{FF2B5EF4-FFF2-40B4-BE49-F238E27FC236}">
                <a16:creationId xmlns:a16="http://schemas.microsoft.com/office/drawing/2014/main" id="{8D91CC63-EC57-4924-A724-1CDFF2666E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8318" y="301183"/>
            <a:ext cx="9574509" cy="666000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rmAutofit/>
          </a:bodyPr>
          <a:lstStyle/>
          <a:p>
            <a:r>
              <a:rPr lang="de-DE" noProof="0" dirty="0"/>
              <a:t>[Action-Title]: Kernaussage des Bilds ausdrücken, </a:t>
            </a:r>
            <a:br>
              <a:rPr lang="de-DE" noProof="0" dirty="0"/>
            </a:br>
            <a:r>
              <a:rPr lang="de-DE" noProof="0" dirty="0"/>
              <a:t>maximal zwei Zeilen, „sprechende Titel“</a:t>
            </a:r>
            <a:endParaRPr lang="de-DE" dirty="0"/>
          </a:p>
        </p:txBody>
      </p:sp>
      <p:sp>
        <p:nvSpPr>
          <p:cNvPr id="19" name="Textplatzhalter 6">
            <a:extLst>
              <a:ext uri="{FF2B5EF4-FFF2-40B4-BE49-F238E27FC236}">
                <a16:creationId xmlns:a16="http://schemas.microsoft.com/office/drawing/2014/main" id="{E76EDA7A-C3DC-4A17-8264-EF17021BD3D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8318" y="987403"/>
            <a:ext cx="9574510" cy="281103"/>
          </a:xfrm>
        </p:spPr>
        <p:txBody>
          <a:bodyPr anchor="ctr">
            <a:normAutofit/>
          </a:bodyPr>
          <a:lstStyle>
            <a:lvl1pPr>
              <a:defRPr sz="1800">
                <a:solidFill>
                  <a:srgbClr val="041E4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3"/>
              </a:buClr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noProof="0" dirty="0"/>
              <a:t>[</a:t>
            </a:r>
            <a:r>
              <a:rPr lang="de-DE" noProof="0" dirty="0" err="1"/>
              <a:t>Subtitle</a:t>
            </a:r>
            <a:r>
              <a:rPr lang="de-DE" noProof="0" dirty="0"/>
              <a:t>]: Zusammenfassung in Stichwörtern, keine Sätze</a:t>
            </a:r>
          </a:p>
        </p:txBody>
      </p:sp>
      <p:sp>
        <p:nvSpPr>
          <p:cNvPr id="6" name="Bildplatzhalter 5">
            <a:extLst>
              <a:ext uri="{FF2B5EF4-FFF2-40B4-BE49-F238E27FC236}">
                <a16:creationId xmlns:a16="http://schemas.microsoft.com/office/drawing/2014/main" id="{6108856A-1EE1-4005-9979-7573C6030809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518319" y="1631156"/>
            <a:ext cx="3569758" cy="3951163"/>
          </a:xfrm>
          <a:solidFill>
            <a:schemeClr val="bg1">
              <a:lumMod val="95000"/>
            </a:schemeClr>
          </a:solidFill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 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B415DB86-72ED-45B4-8011-E6610E41A9E3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518319" y="5690271"/>
            <a:ext cx="3569758" cy="511084"/>
          </a:xfrm>
        </p:spPr>
        <p:txBody>
          <a:bodyPr>
            <a:normAutofit/>
          </a:bodyPr>
          <a:lstStyle>
            <a:lvl1pPr>
              <a:defRPr sz="1400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3"/>
              </a:buClr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dirty="0"/>
              <a:t>Mastertextformat bearbeiten</a:t>
            </a:r>
          </a:p>
        </p:txBody>
      </p:sp>
      <p:sp>
        <p:nvSpPr>
          <p:cNvPr id="7" name="Bildplatzhalter 6">
            <a:extLst>
              <a:ext uri="{FF2B5EF4-FFF2-40B4-BE49-F238E27FC236}">
                <a16:creationId xmlns:a16="http://schemas.microsoft.com/office/drawing/2014/main" id="{7AEA8F67-E60D-40EF-B469-0865A9BBB6C5}"/>
              </a:ext>
            </a:extLst>
          </p:cNvPr>
          <p:cNvSpPr>
            <a:spLocks noGrp="1"/>
          </p:cNvSpPr>
          <p:nvPr>
            <p:ph type="pic" sz="quarter" idx="42" hasCustomPrompt="1"/>
          </p:nvPr>
        </p:nvSpPr>
        <p:spPr>
          <a:xfrm>
            <a:off x="4312311" y="1631156"/>
            <a:ext cx="3569758" cy="3951163"/>
          </a:xfrm>
          <a:solidFill>
            <a:schemeClr val="bg1">
              <a:lumMod val="95000"/>
            </a:schemeClr>
          </a:solidFill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 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A3234D82-3D7C-4C35-ACF1-5A06F1E2F098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4312311" y="5689692"/>
            <a:ext cx="3569758" cy="511084"/>
          </a:xfrm>
        </p:spPr>
        <p:txBody>
          <a:bodyPr>
            <a:normAutofit/>
          </a:bodyPr>
          <a:lstStyle>
            <a:lvl1pPr>
              <a:defRPr sz="1400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3"/>
              </a:buClr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dirty="0"/>
              <a:t>Mastertextformat bearbeiten</a:t>
            </a:r>
          </a:p>
        </p:txBody>
      </p:sp>
      <p:sp>
        <p:nvSpPr>
          <p:cNvPr id="10" name="Bildplatzhalter 9">
            <a:extLst>
              <a:ext uri="{FF2B5EF4-FFF2-40B4-BE49-F238E27FC236}">
                <a16:creationId xmlns:a16="http://schemas.microsoft.com/office/drawing/2014/main" id="{54AF4E7F-828A-4F93-A224-CC37323F22EB}"/>
              </a:ext>
            </a:extLst>
          </p:cNvPr>
          <p:cNvSpPr>
            <a:spLocks noGrp="1"/>
          </p:cNvSpPr>
          <p:nvPr>
            <p:ph type="pic" sz="quarter" idx="44" hasCustomPrompt="1"/>
          </p:nvPr>
        </p:nvSpPr>
        <p:spPr>
          <a:xfrm>
            <a:off x="8106303" y="1631156"/>
            <a:ext cx="3569758" cy="3951163"/>
          </a:xfrm>
          <a:solidFill>
            <a:schemeClr val="bg1">
              <a:lumMod val="95000"/>
            </a:schemeClr>
          </a:solidFill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 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B62F2321-99BF-46DA-82FB-5C0D110A571D}"/>
              </a:ext>
            </a:extLst>
          </p:cNvPr>
          <p:cNvSpPr>
            <a:spLocks noGrp="1"/>
          </p:cNvSpPr>
          <p:nvPr>
            <p:ph type="body" sz="quarter" idx="45"/>
          </p:nvPr>
        </p:nvSpPr>
        <p:spPr>
          <a:xfrm>
            <a:off x="8106303" y="5689693"/>
            <a:ext cx="3569758" cy="511084"/>
          </a:xfrm>
        </p:spPr>
        <p:txBody>
          <a:bodyPr>
            <a:normAutofit/>
          </a:bodyPr>
          <a:lstStyle>
            <a:lvl1pPr>
              <a:defRPr sz="1400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3"/>
              </a:buClr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dirty="0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219556111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s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5E0522E-4B59-4195-AD23-1DB4381AB6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21F75B-8E06-41EA-9095-78DA6F8CBA18}" type="datetime4">
              <a:rPr lang="de-DE" smtClean="0"/>
              <a:t>19. Dezember 2022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0F6FD0B-B0A5-4052-BAB6-95BD027E8C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15937" y="6634666"/>
            <a:ext cx="9574509" cy="123111"/>
          </a:xfrm>
        </p:spPr>
        <p:txBody>
          <a:bodyPr/>
          <a:lstStyle/>
          <a:p>
            <a:r>
              <a:rPr lang="de-DE"/>
              <a:t>… | Lehrstuhl für Digital Industrial Service Systems | &lt;Name des Dozenten&gt;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0385CA6-0215-4C6D-9658-F37EA26CE8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8531AA6C-45F6-4DAB-84E5-02BCC876C604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18319" y="6221277"/>
            <a:ext cx="11157742" cy="132149"/>
          </a:xfrm>
        </p:spPr>
        <p:txBody>
          <a:bodyPr rIns="0">
            <a:noAutofit/>
          </a:bodyPr>
          <a:lstStyle>
            <a:lvl1pPr algn="r">
              <a:lnSpc>
                <a:spcPct val="100000"/>
              </a:lnSpc>
              <a:spcAft>
                <a:spcPts val="0"/>
              </a:spcAft>
              <a:defRPr sz="8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lvl="0"/>
            <a:r>
              <a:rPr lang="de-DE" dirty="0"/>
              <a:t>Quelle:</a:t>
            </a:r>
          </a:p>
        </p:txBody>
      </p:sp>
      <p:sp>
        <p:nvSpPr>
          <p:cNvPr id="18" name="Titelplatzhalter 1">
            <a:extLst>
              <a:ext uri="{FF2B5EF4-FFF2-40B4-BE49-F238E27FC236}">
                <a16:creationId xmlns:a16="http://schemas.microsoft.com/office/drawing/2014/main" id="{8D91CC63-EC57-4924-A724-1CDFF2666E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8318" y="301183"/>
            <a:ext cx="9574509" cy="666000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rmAutofit/>
          </a:bodyPr>
          <a:lstStyle/>
          <a:p>
            <a:r>
              <a:rPr lang="de-DE" noProof="0" dirty="0"/>
              <a:t>[Action-Title]: Kernaussage des Bilds ausdrücken, </a:t>
            </a:r>
            <a:br>
              <a:rPr lang="de-DE" noProof="0" dirty="0"/>
            </a:br>
            <a:r>
              <a:rPr lang="de-DE" noProof="0" dirty="0"/>
              <a:t>maximal zwei Zeilen, „sprechende Titel“</a:t>
            </a:r>
            <a:endParaRPr lang="de-DE" dirty="0"/>
          </a:p>
        </p:txBody>
      </p:sp>
      <p:sp>
        <p:nvSpPr>
          <p:cNvPr id="19" name="Textplatzhalter 6">
            <a:extLst>
              <a:ext uri="{FF2B5EF4-FFF2-40B4-BE49-F238E27FC236}">
                <a16:creationId xmlns:a16="http://schemas.microsoft.com/office/drawing/2014/main" id="{E76EDA7A-C3DC-4A17-8264-EF17021BD3D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8318" y="987403"/>
            <a:ext cx="9574510" cy="281103"/>
          </a:xfrm>
        </p:spPr>
        <p:txBody>
          <a:bodyPr anchor="ctr">
            <a:normAutofit/>
          </a:bodyPr>
          <a:lstStyle>
            <a:lvl1pPr>
              <a:defRPr sz="1800">
                <a:solidFill>
                  <a:srgbClr val="041E4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3"/>
              </a:buClr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noProof="0" dirty="0"/>
              <a:t>[</a:t>
            </a:r>
            <a:r>
              <a:rPr lang="de-DE" noProof="0" dirty="0" err="1"/>
              <a:t>Subtitle</a:t>
            </a:r>
            <a:r>
              <a:rPr lang="de-DE" noProof="0" dirty="0"/>
              <a:t>]: Zusammenfassung in Stichwörtern, keine Sätze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4B9594F1-3737-4DC4-9EAD-CF98FA91051F}"/>
              </a:ext>
            </a:extLst>
          </p:cNvPr>
          <p:cNvSpPr>
            <a:spLocks noGrp="1"/>
          </p:cNvSpPr>
          <p:nvPr>
            <p:ph sz="quarter" idx="40" hasCustomPrompt="1"/>
          </p:nvPr>
        </p:nvSpPr>
        <p:spPr>
          <a:xfrm>
            <a:off x="518319" y="1631156"/>
            <a:ext cx="11157742" cy="456962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47493756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sfolie | zweispalt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5E0522E-4B59-4195-AD23-1DB4381AB6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89DCD38-B7CE-40BA-8A02-00BA6D6B4613}" type="datetime4">
              <a:rPr lang="de-DE" smtClean="0"/>
              <a:t>19. Dezember 2022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0F6FD0B-B0A5-4052-BAB6-95BD027E8C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15937" y="6634666"/>
            <a:ext cx="9574509" cy="123111"/>
          </a:xfrm>
        </p:spPr>
        <p:txBody>
          <a:bodyPr/>
          <a:lstStyle/>
          <a:p>
            <a:r>
              <a:rPr lang="de-DE"/>
              <a:t>… | Lehrstuhl für Digital Industrial Service Systems | &lt;Name des Dozenten&gt;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0385CA6-0215-4C6D-9658-F37EA26CE8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8531AA6C-45F6-4DAB-84E5-02BCC876C604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18319" y="6221277"/>
            <a:ext cx="11157742" cy="132149"/>
          </a:xfrm>
        </p:spPr>
        <p:txBody>
          <a:bodyPr rIns="0">
            <a:noAutofit/>
          </a:bodyPr>
          <a:lstStyle>
            <a:lvl1pPr algn="r">
              <a:lnSpc>
                <a:spcPct val="100000"/>
              </a:lnSpc>
              <a:spcAft>
                <a:spcPts val="0"/>
              </a:spcAft>
              <a:defRPr sz="8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lvl="0"/>
            <a:r>
              <a:rPr lang="de-DE" dirty="0"/>
              <a:t>Quelle:</a:t>
            </a:r>
          </a:p>
        </p:txBody>
      </p:sp>
      <p:sp>
        <p:nvSpPr>
          <p:cNvPr id="18" name="Titelplatzhalter 1">
            <a:extLst>
              <a:ext uri="{FF2B5EF4-FFF2-40B4-BE49-F238E27FC236}">
                <a16:creationId xmlns:a16="http://schemas.microsoft.com/office/drawing/2014/main" id="{8D91CC63-EC57-4924-A724-1CDFF2666E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8318" y="301183"/>
            <a:ext cx="9574509" cy="666000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rmAutofit/>
          </a:bodyPr>
          <a:lstStyle/>
          <a:p>
            <a:r>
              <a:rPr lang="de-DE" noProof="0" dirty="0"/>
              <a:t>[Action-Title]: Kernaussage des Bilds ausdrücken, </a:t>
            </a:r>
            <a:br>
              <a:rPr lang="de-DE" noProof="0" dirty="0"/>
            </a:br>
            <a:r>
              <a:rPr lang="de-DE" noProof="0" dirty="0"/>
              <a:t>maximal zwei Zeilen, „sprechende Titel“</a:t>
            </a:r>
            <a:endParaRPr lang="de-DE" dirty="0"/>
          </a:p>
        </p:txBody>
      </p:sp>
      <p:sp>
        <p:nvSpPr>
          <p:cNvPr id="19" name="Textplatzhalter 6">
            <a:extLst>
              <a:ext uri="{FF2B5EF4-FFF2-40B4-BE49-F238E27FC236}">
                <a16:creationId xmlns:a16="http://schemas.microsoft.com/office/drawing/2014/main" id="{E76EDA7A-C3DC-4A17-8264-EF17021BD3D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8318" y="987403"/>
            <a:ext cx="9574510" cy="281103"/>
          </a:xfrm>
        </p:spPr>
        <p:txBody>
          <a:bodyPr anchor="ctr">
            <a:normAutofit/>
          </a:bodyPr>
          <a:lstStyle>
            <a:lvl1pPr>
              <a:defRPr sz="1800">
                <a:solidFill>
                  <a:srgbClr val="041E4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3"/>
              </a:buClr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noProof="0" dirty="0"/>
              <a:t>[</a:t>
            </a:r>
            <a:r>
              <a:rPr lang="de-DE" noProof="0" dirty="0" err="1"/>
              <a:t>Subtitle</a:t>
            </a:r>
            <a:r>
              <a:rPr lang="de-DE" noProof="0" dirty="0"/>
              <a:t>]: Zusammenfassung in Stichwörtern, keine Sätze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4B9594F1-3737-4DC4-9EAD-CF98FA91051F}"/>
              </a:ext>
            </a:extLst>
          </p:cNvPr>
          <p:cNvSpPr>
            <a:spLocks noGrp="1"/>
          </p:cNvSpPr>
          <p:nvPr>
            <p:ph sz="quarter" idx="40" hasCustomPrompt="1"/>
          </p:nvPr>
        </p:nvSpPr>
        <p:spPr>
          <a:xfrm>
            <a:off x="518320" y="1631156"/>
            <a:ext cx="5469733" cy="456962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7" name="Inhaltsplatzhalter 6">
            <a:extLst>
              <a:ext uri="{FF2B5EF4-FFF2-40B4-BE49-F238E27FC236}">
                <a16:creationId xmlns:a16="http://schemas.microsoft.com/office/drawing/2014/main" id="{9CAB6B1D-E17E-47DF-93D9-FB8A06ED58F2}"/>
              </a:ext>
            </a:extLst>
          </p:cNvPr>
          <p:cNvSpPr>
            <a:spLocks noGrp="1"/>
          </p:cNvSpPr>
          <p:nvPr>
            <p:ph sz="quarter" idx="41" hasCustomPrompt="1"/>
          </p:nvPr>
        </p:nvSpPr>
        <p:spPr>
          <a:xfrm>
            <a:off x="6206328" y="1631156"/>
            <a:ext cx="5469733" cy="456962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53810365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sfolie | mi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5E0522E-4B59-4195-AD23-1DB4381AB6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BF881E-3DED-43D6-A417-A7C186EE56EA}" type="datetime4">
              <a:rPr lang="de-DE" smtClean="0"/>
              <a:t>19. Dezember 2022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0F6FD0B-B0A5-4052-BAB6-95BD027E8C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… | Lehrstuhl für Digital Industrial Service Systems | &lt;Name des Dozenten&gt;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0385CA6-0215-4C6D-9658-F37EA26CE8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8" name="Inhaltsplatzhalter 7">
            <a:extLst>
              <a:ext uri="{FF2B5EF4-FFF2-40B4-BE49-F238E27FC236}">
                <a16:creationId xmlns:a16="http://schemas.microsoft.com/office/drawing/2014/main" id="{6A3EEDC1-9ABB-471E-855E-52CC8C208FB3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518317" y="1631156"/>
            <a:ext cx="7363752" cy="4569619"/>
          </a:xfrm>
        </p:spPr>
        <p:txBody>
          <a:bodyPr/>
          <a:lstStyle/>
          <a:p>
            <a:pPr lvl="0"/>
            <a:r>
              <a:rPr lang="de-DE" dirty="0"/>
              <a:t> </a:t>
            </a:r>
          </a:p>
        </p:txBody>
      </p:sp>
      <p:sp>
        <p:nvSpPr>
          <p:cNvPr id="14" name="Textplatzhalter 7">
            <a:extLst>
              <a:ext uri="{FF2B5EF4-FFF2-40B4-BE49-F238E27FC236}">
                <a16:creationId xmlns:a16="http://schemas.microsoft.com/office/drawing/2014/main" id="{78AF47B9-8A91-4A40-8EEC-F1FF348CA6BB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18319" y="6221277"/>
            <a:ext cx="11157742" cy="132149"/>
          </a:xfrm>
        </p:spPr>
        <p:txBody>
          <a:bodyPr rIns="0">
            <a:noAutofit/>
          </a:bodyPr>
          <a:lstStyle>
            <a:lvl1pPr algn="r">
              <a:lnSpc>
                <a:spcPct val="100000"/>
              </a:lnSpc>
              <a:spcAft>
                <a:spcPts val="0"/>
              </a:spcAft>
              <a:defRPr sz="8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lvl="0"/>
            <a:r>
              <a:rPr lang="de-DE" dirty="0"/>
              <a:t>Quelle:</a:t>
            </a:r>
          </a:p>
        </p:txBody>
      </p:sp>
      <p:sp>
        <p:nvSpPr>
          <p:cNvPr id="15" name="Titelplatzhalter 1">
            <a:extLst>
              <a:ext uri="{FF2B5EF4-FFF2-40B4-BE49-F238E27FC236}">
                <a16:creationId xmlns:a16="http://schemas.microsoft.com/office/drawing/2014/main" id="{400092CC-C52C-43A0-B095-9A4345B3851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8318" y="301183"/>
            <a:ext cx="9574509" cy="666000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rmAutofit/>
          </a:bodyPr>
          <a:lstStyle/>
          <a:p>
            <a:r>
              <a:rPr lang="de-DE" noProof="0" dirty="0"/>
              <a:t>[Action-Title]: Kernaussage des Bilds ausdrücken, </a:t>
            </a:r>
            <a:br>
              <a:rPr lang="de-DE" noProof="0" dirty="0"/>
            </a:br>
            <a:r>
              <a:rPr lang="de-DE" noProof="0" dirty="0"/>
              <a:t>maximal zwei Zeilen, „sprechende Titel“</a:t>
            </a:r>
            <a:endParaRPr lang="de-DE" dirty="0"/>
          </a:p>
        </p:txBody>
      </p:sp>
      <p:sp>
        <p:nvSpPr>
          <p:cNvPr id="16" name="Textplatzhalter 6">
            <a:extLst>
              <a:ext uri="{FF2B5EF4-FFF2-40B4-BE49-F238E27FC236}">
                <a16:creationId xmlns:a16="http://schemas.microsoft.com/office/drawing/2014/main" id="{FF7514CA-58B6-4149-8F50-89E095FEE6C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8318" y="987403"/>
            <a:ext cx="9574510" cy="281103"/>
          </a:xfrm>
        </p:spPr>
        <p:txBody>
          <a:bodyPr anchor="ctr">
            <a:normAutofit/>
          </a:bodyPr>
          <a:lstStyle>
            <a:lvl1pPr>
              <a:defRPr sz="1800">
                <a:solidFill>
                  <a:srgbClr val="041E4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3"/>
              </a:buClr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noProof="0" dirty="0"/>
              <a:t>[</a:t>
            </a:r>
            <a:r>
              <a:rPr lang="de-DE" noProof="0" dirty="0" err="1"/>
              <a:t>Subtitle</a:t>
            </a:r>
            <a:r>
              <a:rPr lang="de-DE" noProof="0" dirty="0"/>
              <a:t>]: Zusammenfassung in Stichwörtern, keine Sätze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08EA3E77-72F7-436C-81B1-2C534F9DE627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8104863" y="1631156"/>
            <a:ext cx="3571199" cy="456962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424784103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 | Rot">
    <p:bg bwMode="ltGray"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5E0522E-4B59-4195-AD23-1DB4381AB6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36023A5-0DD9-4EDE-B3F8-AE8B566D171E}" type="datetime4">
              <a:rPr lang="de-DE" smtClean="0"/>
              <a:t>19. Dezember 2022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0F6FD0B-B0A5-4052-BAB6-95BD027E8C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15937" y="6634666"/>
            <a:ext cx="9574509" cy="123111"/>
          </a:xfrm>
        </p:spPr>
        <p:txBody>
          <a:bodyPr/>
          <a:lstStyle/>
          <a:p>
            <a:r>
              <a:rPr lang="de-DE"/>
              <a:t>… | Lehrstuhl für Digital Industrial Service Systems | &lt;Name des Dozenten&gt;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0385CA6-0215-4C6D-9658-F37EA26CE8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8531AA6C-45F6-4DAB-84E5-02BCC876C604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18319" y="6221277"/>
            <a:ext cx="11157742" cy="132149"/>
          </a:xfrm>
        </p:spPr>
        <p:txBody>
          <a:bodyPr rIns="0">
            <a:noAutofit/>
          </a:bodyPr>
          <a:lstStyle>
            <a:lvl1pPr algn="r">
              <a:lnSpc>
                <a:spcPct val="100000"/>
              </a:lnSpc>
              <a:spcAft>
                <a:spcPts val="0"/>
              </a:spcAft>
              <a:defRPr sz="8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Quelle:</a:t>
            </a:r>
          </a:p>
        </p:txBody>
      </p:sp>
      <p:sp>
        <p:nvSpPr>
          <p:cNvPr id="18" name="Titelplatzhalter 1">
            <a:extLst>
              <a:ext uri="{FF2B5EF4-FFF2-40B4-BE49-F238E27FC236}">
                <a16:creationId xmlns:a16="http://schemas.microsoft.com/office/drawing/2014/main" id="{8D91CC63-EC57-4924-A724-1CDFF2666E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8318" y="301183"/>
            <a:ext cx="9574509" cy="666000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rmAutofit/>
          </a:bodyPr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de-DE" noProof="0" dirty="0"/>
              <a:t>[Action-Title]: Kernaussage des Bilds ausdrücken, </a:t>
            </a:r>
            <a:br>
              <a:rPr lang="de-DE" noProof="0" dirty="0"/>
            </a:br>
            <a:r>
              <a:rPr lang="de-DE" noProof="0" dirty="0"/>
              <a:t>maximal zwei Zeilen, „sprechende Titel“</a:t>
            </a:r>
            <a:endParaRPr lang="de-DE" dirty="0"/>
          </a:p>
        </p:txBody>
      </p:sp>
      <p:sp>
        <p:nvSpPr>
          <p:cNvPr id="19" name="Textplatzhalter 6">
            <a:extLst>
              <a:ext uri="{FF2B5EF4-FFF2-40B4-BE49-F238E27FC236}">
                <a16:creationId xmlns:a16="http://schemas.microsoft.com/office/drawing/2014/main" id="{E76EDA7A-C3DC-4A17-8264-EF17021BD3D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8318" y="987403"/>
            <a:ext cx="9574510" cy="281103"/>
          </a:xfrm>
        </p:spPr>
        <p:txBody>
          <a:bodyPr anchor="ctr">
            <a:normAutofit/>
          </a:bodyPr>
          <a:lstStyle>
            <a:lvl1pPr>
              <a:defRPr sz="1800">
                <a:solidFill>
                  <a:schemeClr val="tx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3"/>
              </a:buClr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noProof="0" dirty="0"/>
              <a:t>[</a:t>
            </a:r>
            <a:r>
              <a:rPr lang="de-DE" noProof="0" dirty="0" err="1"/>
              <a:t>Subtitle</a:t>
            </a:r>
            <a:r>
              <a:rPr lang="de-DE" noProof="0" dirty="0"/>
              <a:t>]: Zusammenfassung in Stichwörtern, keine Sätze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1985FC13-022A-4A6C-8471-9677A9BF0B1E}"/>
              </a:ext>
            </a:extLst>
          </p:cNvPr>
          <p:cNvSpPr/>
          <p:nvPr userDrawn="1"/>
        </p:nvSpPr>
        <p:spPr>
          <a:xfrm>
            <a:off x="517200" y="6538526"/>
            <a:ext cx="11674800" cy="108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E529CD0F-6647-46B4-9F3B-E2446A352E8D}"/>
              </a:ext>
            </a:extLst>
          </p:cNvPr>
          <p:cNvSpPr/>
          <p:nvPr userDrawn="1"/>
        </p:nvSpPr>
        <p:spPr>
          <a:xfrm>
            <a:off x="518400" y="1413835"/>
            <a:ext cx="11676062" cy="72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2" name="Freihandform: Form 11">
            <a:extLst>
              <a:ext uri="{FF2B5EF4-FFF2-40B4-BE49-F238E27FC236}">
                <a16:creationId xmlns:a16="http://schemas.microsoft.com/office/drawing/2014/main" id="{332B3A29-F89E-40B3-9284-D5FA2A1AC13E}"/>
              </a:ext>
            </a:extLst>
          </p:cNvPr>
          <p:cNvSpPr>
            <a:spLocks noChangeAspect="1"/>
          </p:cNvSpPr>
          <p:nvPr userDrawn="1"/>
        </p:nvSpPr>
        <p:spPr>
          <a:xfrm>
            <a:off x="10596063" y="299346"/>
            <a:ext cx="1080000" cy="412328"/>
          </a:xfrm>
          <a:custGeom>
            <a:avLst/>
            <a:gdLst>
              <a:gd name="connsiteX0" fmla="*/ 0 w 4797018"/>
              <a:gd name="connsiteY0" fmla="*/ 170736 h 1831428"/>
              <a:gd name="connsiteX1" fmla="*/ 92812 w 4797018"/>
              <a:gd name="connsiteY1" fmla="*/ 77924 h 1831428"/>
              <a:gd name="connsiteX2" fmla="*/ 92812 w 4797018"/>
              <a:gd name="connsiteY2" fmla="*/ 1763373 h 1831428"/>
              <a:gd name="connsiteX3" fmla="*/ 0 w 4797018"/>
              <a:gd name="connsiteY3" fmla="*/ 1763373 h 1831428"/>
              <a:gd name="connsiteX4" fmla="*/ 0 w 4797018"/>
              <a:gd name="connsiteY4" fmla="*/ 170736 h 1831428"/>
              <a:gd name="connsiteX5" fmla="*/ 278425 w 4797018"/>
              <a:gd name="connsiteY5" fmla="*/ 92812 h 1831428"/>
              <a:gd name="connsiteX6" fmla="*/ 1392136 w 4797018"/>
              <a:gd name="connsiteY6" fmla="*/ 92812 h 1831428"/>
              <a:gd name="connsiteX7" fmla="*/ 1392136 w 4797018"/>
              <a:gd name="connsiteY7" fmla="*/ 0 h 1831428"/>
              <a:gd name="connsiteX8" fmla="*/ 185614 w 4797018"/>
              <a:gd name="connsiteY8" fmla="*/ 0 h 1831428"/>
              <a:gd name="connsiteX9" fmla="*/ 185614 w 4797018"/>
              <a:gd name="connsiteY9" fmla="*/ 1113701 h 1831428"/>
              <a:gd name="connsiteX10" fmla="*/ 1210723 w 4797018"/>
              <a:gd name="connsiteY10" fmla="*/ 1113701 h 1831428"/>
              <a:gd name="connsiteX11" fmla="*/ 1210723 w 4797018"/>
              <a:gd name="connsiteY11" fmla="*/ 1020899 h 1831428"/>
              <a:gd name="connsiteX12" fmla="*/ 278425 w 4797018"/>
              <a:gd name="connsiteY12" fmla="*/ 1020899 h 1831428"/>
              <a:gd name="connsiteX13" fmla="*/ 278425 w 4797018"/>
              <a:gd name="connsiteY13" fmla="*/ 92812 h 1831428"/>
              <a:gd name="connsiteX14" fmla="*/ 1350464 w 4797018"/>
              <a:gd name="connsiteY14" fmla="*/ 835285 h 1831428"/>
              <a:gd name="connsiteX15" fmla="*/ 464048 w 4797018"/>
              <a:gd name="connsiteY15" fmla="*/ 835285 h 1831428"/>
              <a:gd name="connsiteX16" fmla="*/ 464048 w 4797018"/>
              <a:gd name="connsiteY16" fmla="*/ 464048 h 1831428"/>
              <a:gd name="connsiteX17" fmla="*/ 1222124 w 4797018"/>
              <a:gd name="connsiteY17" fmla="*/ 464048 h 1831428"/>
              <a:gd name="connsiteX18" fmla="*/ 1314926 w 4797018"/>
              <a:gd name="connsiteY18" fmla="*/ 371237 h 1831428"/>
              <a:gd name="connsiteX19" fmla="*/ 464048 w 4797018"/>
              <a:gd name="connsiteY19" fmla="*/ 371237 h 1831428"/>
              <a:gd name="connsiteX20" fmla="*/ 464048 w 4797018"/>
              <a:gd name="connsiteY20" fmla="*/ 278425 h 1831428"/>
              <a:gd name="connsiteX21" fmla="*/ 1392146 w 4797018"/>
              <a:gd name="connsiteY21" fmla="*/ 278425 h 1831428"/>
              <a:gd name="connsiteX22" fmla="*/ 1392146 w 4797018"/>
              <a:gd name="connsiteY22" fmla="*/ 185614 h 1831428"/>
              <a:gd name="connsiteX23" fmla="*/ 371237 w 4797018"/>
              <a:gd name="connsiteY23" fmla="*/ 185614 h 1831428"/>
              <a:gd name="connsiteX24" fmla="*/ 371237 w 4797018"/>
              <a:gd name="connsiteY24" fmla="*/ 928087 h 1831428"/>
              <a:gd name="connsiteX25" fmla="*/ 1258872 w 4797018"/>
              <a:gd name="connsiteY25" fmla="*/ 928087 h 1831428"/>
              <a:gd name="connsiteX26" fmla="*/ 1350464 w 4797018"/>
              <a:gd name="connsiteY26" fmla="*/ 835285 h 1831428"/>
              <a:gd name="connsiteX27" fmla="*/ 185614 w 4797018"/>
              <a:gd name="connsiteY27" fmla="*/ 1763373 h 1831428"/>
              <a:gd name="connsiteX28" fmla="*/ 278425 w 4797018"/>
              <a:gd name="connsiteY28" fmla="*/ 1763373 h 1831428"/>
              <a:gd name="connsiteX29" fmla="*/ 278425 w 4797018"/>
              <a:gd name="connsiteY29" fmla="*/ 1299324 h 1831428"/>
              <a:gd name="connsiteX30" fmla="*/ 371237 w 4797018"/>
              <a:gd name="connsiteY30" fmla="*/ 1299324 h 1831428"/>
              <a:gd name="connsiteX31" fmla="*/ 371237 w 4797018"/>
              <a:gd name="connsiteY31" fmla="*/ 1685449 h 1831428"/>
              <a:gd name="connsiteX32" fmla="*/ 464039 w 4797018"/>
              <a:gd name="connsiteY32" fmla="*/ 1592647 h 1831428"/>
              <a:gd name="connsiteX33" fmla="*/ 464039 w 4797018"/>
              <a:gd name="connsiteY33" fmla="*/ 1299324 h 1831428"/>
              <a:gd name="connsiteX34" fmla="*/ 1210723 w 4797018"/>
              <a:gd name="connsiteY34" fmla="*/ 1299324 h 1831428"/>
              <a:gd name="connsiteX35" fmla="*/ 1210723 w 4797018"/>
              <a:gd name="connsiteY35" fmla="*/ 1206522 h 1831428"/>
              <a:gd name="connsiteX36" fmla="*/ 185614 w 4797018"/>
              <a:gd name="connsiteY36" fmla="*/ 1206522 h 1831428"/>
              <a:gd name="connsiteX37" fmla="*/ 185614 w 4797018"/>
              <a:gd name="connsiteY37" fmla="*/ 1763373 h 1831428"/>
              <a:gd name="connsiteX38" fmla="*/ 4704207 w 4797018"/>
              <a:gd name="connsiteY38" fmla="*/ 0 h 1831428"/>
              <a:gd name="connsiteX39" fmla="*/ 4704207 w 4797018"/>
              <a:gd name="connsiteY39" fmla="*/ 1067314 h 1831428"/>
              <a:gd name="connsiteX40" fmla="*/ 4334837 w 4797018"/>
              <a:gd name="connsiteY40" fmla="*/ 1692688 h 1831428"/>
              <a:gd name="connsiteX41" fmla="*/ 4332742 w 4797018"/>
              <a:gd name="connsiteY41" fmla="*/ 1689954 h 1831428"/>
              <a:gd name="connsiteX42" fmla="*/ 4611405 w 4797018"/>
              <a:gd name="connsiteY42" fmla="*/ 1158564 h 1831428"/>
              <a:gd name="connsiteX43" fmla="*/ 4611405 w 4797018"/>
              <a:gd name="connsiteY43" fmla="*/ 0 h 1831428"/>
              <a:gd name="connsiteX44" fmla="*/ 4518594 w 4797018"/>
              <a:gd name="connsiteY44" fmla="*/ 0 h 1831428"/>
              <a:gd name="connsiteX45" fmla="*/ 4518594 w 4797018"/>
              <a:gd name="connsiteY45" fmla="*/ 1157021 h 1831428"/>
              <a:gd name="connsiteX46" fmla="*/ 3915337 w 4797018"/>
              <a:gd name="connsiteY46" fmla="*/ 1740170 h 1831428"/>
              <a:gd name="connsiteX47" fmla="*/ 3312081 w 4797018"/>
              <a:gd name="connsiteY47" fmla="*/ 1157021 h 1831428"/>
              <a:gd name="connsiteX48" fmla="*/ 3312081 w 4797018"/>
              <a:gd name="connsiteY48" fmla="*/ 77924 h 1831428"/>
              <a:gd name="connsiteX49" fmla="*/ 3219269 w 4797018"/>
              <a:gd name="connsiteY49" fmla="*/ 170736 h 1831428"/>
              <a:gd name="connsiteX50" fmla="*/ 3219269 w 4797018"/>
              <a:gd name="connsiteY50" fmla="*/ 1158564 h 1831428"/>
              <a:gd name="connsiteX51" fmla="*/ 3915337 w 4797018"/>
              <a:gd name="connsiteY51" fmla="*/ 1831429 h 1831428"/>
              <a:gd name="connsiteX52" fmla="*/ 4008139 w 4797018"/>
              <a:gd name="connsiteY52" fmla="*/ 1831429 h 1831428"/>
              <a:gd name="connsiteX53" fmla="*/ 4797019 w 4797018"/>
              <a:gd name="connsiteY53" fmla="*/ 1068667 h 1831428"/>
              <a:gd name="connsiteX54" fmla="*/ 4797019 w 4797018"/>
              <a:gd name="connsiteY54" fmla="*/ 0 h 1831428"/>
              <a:gd name="connsiteX55" fmla="*/ 4704207 w 4797018"/>
              <a:gd name="connsiteY55" fmla="*/ 0 h 1831428"/>
              <a:gd name="connsiteX56" fmla="*/ 3915328 w 4797018"/>
              <a:gd name="connsiteY56" fmla="*/ 1647358 h 1831428"/>
              <a:gd name="connsiteX57" fmla="*/ 4425773 w 4797018"/>
              <a:gd name="connsiteY57" fmla="*/ 1157021 h 1831428"/>
              <a:gd name="connsiteX58" fmla="*/ 4425782 w 4797018"/>
              <a:gd name="connsiteY58" fmla="*/ 1157021 h 1831428"/>
              <a:gd name="connsiteX59" fmla="*/ 4425782 w 4797018"/>
              <a:gd name="connsiteY59" fmla="*/ 77924 h 1831428"/>
              <a:gd name="connsiteX60" fmla="*/ 4332970 w 4797018"/>
              <a:gd name="connsiteY60" fmla="*/ 170736 h 1831428"/>
              <a:gd name="connsiteX61" fmla="*/ 4332970 w 4797018"/>
              <a:gd name="connsiteY61" fmla="*/ 1067305 h 1831428"/>
              <a:gd name="connsiteX62" fmla="*/ 4008130 w 4797018"/>
              <a:gd name="connsiteY62" fmla="*/ 1368933 h 1831428"/>
              <a:gd name="connsiteX63" fmla="*/ 3683298 w 4797018"/>
              <a:gd name="connsiteY63" fmla="*/ 1067305 h 1831428"/>
              <a:gd name="connsiteX64" fmla="*/ 3683289 w 4797018"/>
              <a:gd name="connsiteY64" fmla="*/ 0 h 1831428"/>
              <a:gd name="connsiteX65" fmla="*/ 3590487 w 4797018"/>
              <a:gd name="connsiteY65" fmla="*/ 0 h 1831428"/>
              <a:gd name="connsiteX66" fmla="*/ 3590487 w 4797018"/>
              <a:gd name="connsiteY66" fmla="*/ 1067305 h 1831428"/>
              <a:gd name="connsiteX67" fmla="*/ 4008130 w 4797018"/>
              <a:gd name="connsiteY67" fmla="*/ 1461745 h 1831428"/>
              <a:gd name="connsiteX68" fmla="*/ 4294699 w 4797018"/>
              <a:gd name="connsiteY68" fmla="*/ 1333129 h 1831428"/>
              <a:gd name="connsiteX69" fmla="*/ 4296785 w 4797018"/>
              <a:gd name="connsiteY69" fmla="*/ 1335862 h 1831428"/>
              <a:gd name="connsiteX70" fmla="*/ 3915328 w 4797018"/>
              <a:gd name="connsiteY70" fmla="*/ 1554556 h 1831428"/>
              <a:gd name="connsiteX71" fmla="*/ 3497742 w 4797018"/>
              <a:gd name="connsiteY71" fmla="*/ 1160116 h 1831428"/>
              <a:gd name="connsiteX72" fmla="*/ 3497685 w 4797018"/>
              <a:gd name="connsiteY72" fmla="*/ 1160116 h 1831428"/>
              <a:gd name="connsiteX73" fmla="*/ 3497685 w 4797018"/>
              <a:gd name="connsiteY73" fmla="*/ 0 h 1831428"/>
              <a:gd name="connsiteX74" fmla="*/ 3404873 w 4797018"/>
              <a:gd name="connsiteY74" fmla="*/ 0 h 1831428"/>
              <a:gd name="connsiteX75" fmla="*/ 3404873 w 4797018"/>
              <a:gd name="connsiteY75" fmla="*/ 1160107 h 1831428"/>
              <a:gd name="connsiteX76" fmla="*/ 3404921 w 4797018"/>
              <a:gd name="connsiteY76" fmla="*/ 1160107 h 1831428"/>
              <a:gd name="connsiteX77" fmla="*/ 3915328 w 4797018"/>
              <a:gd name="connsiteY77" fmla="*/ 1647358 h 1831428"/>
              <a:gd name="connsiteX78" fmla="*/ 1852984 w 4797018"/>
              <a:gd name="connsiteY78" fmla="*/ 1206522 h 1831428"/>
              <a:gd name="connsiteX79" fmla="*/ 1618288 w 4797018"/>
              <a:gd name="connsiteY79" fmla="*/ 1763373 h 1831428"/>
              <a:gd name="connsiteX80" fmla="*/ 1711119 w 4797018"/>
              <a:gd name="connsiteY80" fmla="*/ 1763363 h 1831428"/>
              <a:gd name="connsiteX81" fmla="*/ 1711100 w 4797018"/>
              <a:gd name="connsiteY81" fmla="*/ 1763373 h 1831428"/>
              <a:gd name="connsiteX82" fmla="*/ 1711119 w 4797018"/>
              <a:gd name="connsiteY82" fmla="*/ 1763373 h 1831428"/>
              <a:gd name="connsiteX83" fmla="*/ 1828448 w 4797018"/>
              <a:gd name="connsiteY83" fmla="*/ 1484948 h 1831428"/>
              <a:gd name="connsiteX84" fmla="*/ 2614774 w 4797018"/>
              <a:gd name="connsiteY84" fmla="*/ 1484948 h 1831428"/>
              <a:gd name="connsiteX85" fmla="*/ 2732018 w 4797018"/>
              <a:gd name="connsiteY85" fmla="*/ 1763373 h 1831428"/>
              <a:gd name="connsiteX86" fmla="*/ 2824820 w 4797018"/>
              <a:gd name="connsiteY86" fmla="*/ 1763373 h 1831428"/>
              <a:gd name="connsiteX87" fmla="*/ 2668515 w 4797018"/>
              <a:gd name="connsiteY87" fmla="*/ 1392136 h 1831428"/>
              <a:gd name="connsiteX88" fmla="*/ 1867567 w 4797018"/>
              <a:gd name="connsiteY88" fmla="*/ 1392136 h 1831428"/>
              <a:gd name="connsiteX89" fmla="*/ 1906676 w 4797018"/>
              <a:gd name="connsiteY89" fmla="*/ 1299324 h 1831428"/>
              <a:gd name="connsiteX90" fmla="*/ 2722236 w 4797018"/>
              <a:gd name="connsiteY90" fmla="*/ 1299324 h 1831428"/>
              <a:gd name="connsiteX91" fmla="*/ 2917632 w 4797018"/>
              <a:gd name="connsiteY91" fmla="*/ 1763373 h 1831428"/>
              <a:gd name="connsiteX92" fmla="*/ 3010443 w 4797018"/>
              <a:gd name="connsiteY92" fmla="*/ 1763373 h 1831428"/>
              <a:gd name="connsiteX93" fmla="*/ 2775976 w 4797018"/>
              <a:gd name="connsiteY93" fmla="*/ 1206522 h 1831428"/>
              <a:gd name="connsiteX94" fmla="*/ 1852984 w 4797018"/>
              <a:gd name="connsiteY94" fmla="*/ 1206522 h 1831428"/>
              <a:gd name="connsiteX95" fmla="*/ 1989544 w 4797018"/>
              <a:gd name="connsiteY95" fmla="*/ 0 h 1831428"/>
              <a:gd name="connsiteX96" fmla="*/ 1307459 w 4797018"/>
              <a:gd name="connsiteY96" fmla="*/ 1617898 h 1831428"/>
              <a:gd name="connsiteX97" fmla="*/ 1366533 w 4797018"/>
              <a:gd name="connsiteY97" fmla="*/ 1698098 h 1831428"/>
              <a:gd name="connsiteX98" fmla="*/ 2082356 w 4797018"/>
              <a:gd name="connsiteY98" fmla="*/ 0 h 1831428"/>
              <a:gd name="connsiteX99" fmla="*/ 1989544 w 4797018"/>
              <a:gd name="connsiteY99" fmla="*/ 0 h 1831428"/>
              <a:gd name="connsiteX100" fmla="*/ 2360771 w 4797018"/>
              <a:gd name="connsiteY100" fmla="*/ 0 h 1831428"/>
              <a:gd name="connsiteX101" fmla="*/ 3075708 w 4797018"/>
              <a:gd name="connsiteY101" fmla="*/ 1698098 h 1831428"/>
              <a:gd name="connsiteX102" fmla="*/ 3134639 w 4797018"/>
              <a:gd name="connsiteY102" fmla="*/ 1617898 h 1831428"/>
              <a:gd name="connsiteX103" fmla="*/ 2453592 w 4797018"/>
              <a:gd name="connsiteY103" fmla="*/ 0 h 1831428"/>
              <a:gd name="connsiteX104" fmla="*/ 2360771 w 4797018"/>
              <a:gd name="connsiteY104" fmla="*/ 0 h 1831428"/>
              <a:gd name="connsiteX105" fmla="*/ 1799101 w 4797018"/>
              <a:gd name="connsiteY105" fmla="*/ 1113711 h 1831428"/>
              <a:gd name="connsiteX106" fmla="*/ 1524610 w 4797018"/>
              <a:gd name="connsiteY106" fmla="*/ 1763373 h 1831428"/>
              <a:gd name="connsiteX107" fmla="*/ 1431798 w 4797018"/>
              <a:gd name="connsiteY107" fmla="*/ 1763373 h 1831428"/>
              <a:gd name="connsiteX108" fmla="*/ 2128761 w 4797018"/>
              <a:gd name="connsiteY108" fmla="*/ 110195 h 1831428"/>
              <a:gd name="connsiteX109" fmla="*/ 2512219 w 4797018"/>
              <a:gd name="connsiteY109" fmla="*/ 1020899 h 1831428"/>
              <a:gd name="connsiteX110" fmla="*/ 2605021 w 4797018"/>
              <a:gd name="connsiteY110" fmla="*/ 1020899 h 1831428"/>
              <a:gd name="connsiteX111" fmla="*/ 2175158 w 4797018"/>
              <a:gd name="connsiteY111" fmla="*/ 0 h 1831428"/>
              <a:gd name="connsiteX112" fmla="*/ 2267969 w 4797018"/>
              <a:gd name="connsiteY112" fmla="*/ 0 h 1831428"/>
              <a:gd name="connsiteX113" fmla="*/ 2736895 w 4797018"/>
              <a:gd name="connsiteY113" fmla="*/ 1113701 h 1831428"/>
              <a:gd name="connsiteX114" fmla="*/ 1799101 w 4797018"/>
              <a:gd name="connsiteY114" fmla="*/ 1113701 h 1831428"/>
              <a:gd name="connsiteX115" fmla="*/ 2221802 w 4797018"/>
              <a:gd name="connsiteY115" fmla="*/ 551602 h 1831428"/>
              <a:gd name="connsiteX116" fmla="*/ 2024015 w 4797018"/>
              <a:gd name="connsiteY116" fmla="*/ 1020899 h 1831428"/>
              <a:gd name="connsiteX117" fmla="*/ 2419398 w 4797018"/>
              <a:gd name="connsiteY117" fmla="*/ 1020899 h 1831428"/>
              <a:gd name="connsiteX118" fmla="*/ 2221802 w 4797018"/>
              <a:gd name="connsiteY118" fmla="*/ 551602 h 1831428"/>
              <a:gd name="connsiteX119" fmla="*/ 1838163 w 4797018"/>
              <a:gd name="connsiteY119" fmla="*/ 1020899 h 1831428"/>
              <a:gd name="connsiteX120" fmla="*/ 1931213 w 4797018"/>
              <a:gd name="connsiteY120" fmla="*/ 1020899 h 1831428"/>
              <a:gd name="connsiteX121" fmla="*/ 2175415 w 4797018"/>
              <a:gd name="connsiteY121" fmla="*/ 441436 h 1831428"/>
              <a:gd name="connsiteX122" fmla="*/ 2128942 w 4797018"/>
              <a:gd name="connsiteY122" fmla="*/ 331070 h 1831428"/>
              <a:gd name="connsiteX123" fmla="*/ 1838163 w 4797018"/>
              <a:gd name="connsiteY123" fmla="*/ 1020899 h 18314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</a:cxnLst>
            <a:rect l="l" t="t" r="r" b="b"/>
            <a:pathLst>
              <a:path w="4797018" h="1831428">
                <a:moveTo>
                  <a:pt x="0" y="170736"/>
                </a:moveTo>
                <a:lnTo>
                  <a:pt x="92812" y="77924"/>
                </a:lnTo>
                <a:lnTo>
                  <a:pt x="92812" y="1763373"/>
                </a:lnTo>
                <a:lnTo>
                  <a:pt x="0" y="1763373"/>
                </a:lnTo>
                <a:lnTo>
                  <a:pt x="0" y="170736"/>
                </a:lnTo>
                <a:close/>
                <a:moveTo>
                  <a:pt x="278425" y="92812"/>
                </a:moveTo>
                <a:lnTo>
                  <a:pt x="1392136" y="92812"/>
                </a:lnTo>
                <a:lnTo>
                  <a:pt x="1392136" y="0"/>
                </a:lnTo>
                <a:lnTo>
                  <a:pt x="185614" y="0"/>
                </a:lnTo>
                <a:lnTo>
                  <a:pt x="185614" y="1113701"/>
                </a:lnTo>
                <a:lnTo>
                  <a:pt x="1210723" y="1113701"/>
                </a:lnTo>
                <a:lnTo>
                  <a:pt x="1210723" y="1020899"/>
                </a:lnTo>
                <a:lnTo>
                  <a:pt x="278425" y="1020899"/>
                </a:lnTo>
                <a:lnTo>
                  <a:pt x="278425" y="92812"/>
                </a:lnTo>
                <a:close/>
                <a:moveTo>
                  <a:pt x="1350464" y="835285"/>
                </a:moveTo>
                <a:lnTo>
                  <a:pt x="464048" y="835285"/>
                </a:lnTo>
                <a:lnTo>
                  <a:pt x="464048" y="464048"/>
                </a:lnTo>
                <a:lnTo>
                  <a:pt x="1222124" y="464048"/>
                </a:lnTo>
                <a:lnTo>
                  <a:pt x="1314926" y="371237"/>
                </a:lnTo>
                <a:lnTo>
                  <a:pt x="464048" y="371237"/>
                </a:lnTo>
                <a:lnTo>
                  <a:pt x="464048" y="278425"/>
                </a:lnTo>
                <a:lnTo>
                  <a:pt x="1392146" y="278425"/>
                </a:lnTo>
                <a:lnTo>
                  <a:pt x="1392146" y="185614"/>
                </a:lnTo>
                <a:lnTo>
                  <a:pt x="371237" y="185614"/>
                </a:lnTo>
                <a:lnTo>
                  <a:pt x="371237" y="928087"/>
                </a:lnTo>
                <a:lnTo>
                  <a:pt x="1258872" y="928087"/>
                </a:lnTo>
                <a:lnTo>
                  <a:pt x="1350464" y="835285"/>
                </a:lnTo>
                <a:close/>
                <a:moveTo>
                  <a:pt x="185614" y="1763373"/>
                </a:moveTo>
                <a:lnTo>
                  <a:pt x="278425" y="1763373"/>
                </a:lnTo>
                <a:lnTo>
                  <a:pt x="278425" y="1299324"/>
                </a:lnTo>
                <a:lnTo>
                  <a:pt x="371237" y="1299324"/>
                </a:lnTo>
                <a:lnTo>
                  <a:pt x="371237" y="1685449"/>
                </a:lnTo>
                <a:lnTo>
                  <a:pt x="464039" y="1592647"/>
                </a:lnTo>
                <a:lnTo>
                  <a:pt x="464039" y="1299324"/>
                </a:lnTo>
                <a:lnTo>
                  <a:pt x="1210723" y="1299324"/>
                </a:lnTo>
                <a:lnTo>
                  <a:pt x="1210723" y="1206522"/>
                </a:lnTo>
                <a:lnTo>
                  <a:pt x="185614" y="1206522"/>
                </a:lnTo>
                <a:lnTo>
                  <a:pt x="185614" y="1763373"/>
                </a:lnTo>
                <a:close/>
                <a:moveTo>
                  <a:pt x="4704207" y="0"/>
                </a:moveTo>
                <a:lnTo>
                  <a:pt x="4704207" y="1067314"/>
                </a:lnTo>
                <a:cubicBezTo>
                  <a:pt x="4704207" y="1315669"/>
                  <a:pt x="4593393" y="1529039"/>
                  <a:pt x="4334837" y="1692688"/>
                </a:cubicBezTo>
                <a:lnTo>
                  <a:pt x="4332742" y="1689954"/>
                </a:lnTo>
                <a:cubicBezTo>
                  <a:pt x="4502639" y="1555213"/>
                  <a:pt x="4611405" y="1382144"/>
                  <a:pt x="4611405" y="1158564"/>
                </a:cubicBezTo>
                <a:lnTo>
                  <a:pt x="4611405" y="0"/>
                </a:lnTo>
                <a:lnTo>
                  <a:pt x="4518594" y="0"/>
                </a:lnTo>
                <a:lnTo>
                  <a:pt x="4518594" y="1157021"/>
                </a:lnTo>
                <a:cubicBezTo>
                  <a:pt x="4518594" y="1490196"/>
                  <a:pt x="4248512" y="1740170"/>
                  <a:pt x="3915337" y="1740170"/>
                </a:cubicBezTo>
                <a:cubicBezTo>
                  <a:pt x="3582162" y="1740170"/>
                  <a:pt x="3312081" y="1490186"/>
                  <a:pt x="3312081" y="1157021"/>
                </a:cubicBezTo>
                <a:lnTo>
                  <a:pt x="3312081" y="77924"/>
                </a:lnTo>
                <a:lnTo>
                  <a:pt x="3219269" y="170736"/>
                </a:lnTo>
                <a:lnTo>
                  <a:pt x="3219269" y="1158564"/>
                </a:lnTo>
                <a:cubicBezTo>
                  <a:pt x="3219269" y="1542993"/>
                  <a:pt x="3530908" y="1831429"/>
                  <a:pt x="3915337" y="1831429"/>
                </a:cubicBezTo>
                <a:cubicBezTo>
                  <a:pt x="3924233" y="1831429"/>
                  <a:pt x="4008139" y="1831429"/>
                  <a:pt x="4008139" y="1831429"/>
                </a:cubicBezTo>
                <a:cubicBezTo>
                  <a:pt x="4386691" y="1831429"/>
                  <a:pt x="4797019" y="1551870"/>
                  <a:pt x="4797019" y="1068667"/>
                </a:cubicBezTo>
                <a:cubicBezTo>
                  <a:pt x="4797019" y="1068210"/>
                  <a:pt x="4797019" y="0"/>
                  <a:pt x="4797019" y="0"/>
                </a:cubicBezTo>
                <a:lnTo>
                  <a:pt x="4704207" y="0"/>
                </a:lnTo>
                <a:close/>
                <a:moveTo>
                  <a:pt x="3915328" y="1647358"/>
                </a:moveTo>
                <a:cubicBezTo>
                  <a:pt x="4197077" y="1647358"/>
                  <a:pt x="4425515" y="1438694"/>
                  <a:pt x="4425773" y="1157021"/>
                </a:cubicBezTo>
                <a:lnTo>
                  <a:pt x="4425782" y="1157021"/>
                </a:lnTo>
                <a:lnTo>
                  <a:pt x="4425782" y="77924"/>
                </a:lnTo>
                <a:lnTo>
                  <a:pt x="4332970" y="170736"/>
                </a:lnTo>
                <a:lnTo>
                  <a:pt x="4332970" y="1067305"/>
                </a:lnTo>
                <a:cubicBezTo>
                  <a:pt x="4332970" y="1246699"/>
                  <a:pt x="4187533" y="1368933"/>
                  <a:pt x="4008130" y="1368933"/>
                </a:cubicBezTo>
                <a:cubicBezTo>
                  <a:pt x="3828736" y="1368933"/>
                  <a:pt x="3683298" y="1246699"/>
                  <a:pt x="3683298" y="1067305"/>
                </a:cubicBezTo>
                <a:lnTo>
                  <a:pt x="3683289" y="0"/>
                </a:lnTo>
                <a:lnTo>
                  <a:pt x="3590487" y="0"/>
                </a:lnTo>
                <a:lnTo>
                  <a:pt x="3590487" y="1067305"/>
                </a:lnTo>
                <a:cubicBezTo>
                  <a:pt x="3590487" y="1297962"/>
                  <a:pt x="3777472" y="1461745"/>
                  <a:pt x="4008130" y="1461745"/>
                </a:cubicBezTo>
                <a:cubicBezTo>
                  <a:pt x="4102446" y="1461745"/>
                  <a:pt x="4216937" y="1415148"/>
                  <a:pt x="4294699" y="1333129"/>
                </a:cubicBezTo>
                <a:lnTo>
                  <a:pt x="4296785" y="1335862"/>
                </a:lnTo>
                <a:cubicBezTo>
                  <a:pt x="4223881" y="1471070"/>
                  <a:pt x="4089102" y="1554556"/>
                  <a:pt x="3915328" y="1554556"/>
                </a:cubicBezTo>
                <a:cubicBezTo>
                  <a:pt x="3686090" y="1554556"/>
                  <a:pt x="3500009" y="1388593"/>
                  <a:pt x="3497742" y="1160116"/>
                </a:cubicBezTo>
                <a:lnTo>
                  <a:pt x="3497685" y="1160116"/>
                </a:lnTo>
                <a:lnTo>
                  <a:pt x="3497685" y="0"/>
                </a:lnTo>
                <a:lnTo>
                  <a:pt x="3404873" y="0"/>
                </a:lnTo>
                <a:lnTo>
                  <a:pt x="3404873" y="1160107"/>
                </a:lnTo>
                <a:lnTo>
                  <a:pt x="3404921" y="1160107"/>
                </a:lnTo>
                <a:cubicBezTo>
                  <a:pt x="3406855" y="1440218"/>
                  <a:pt x="3634616" y="1647358"/>
                  <a:pt x="3915328" y="1647358"/>
                </a:cubicBezTo>
                <a:close/>
                <a:moveTo>
                  <a:pt x="1852984" y="1206522"/>
                </a:moveTo>
                <a:lnTo>
                  <a:pt x="1618288" y="1763373"/>
                </a:lnTo>
                <a:lnTo>
                  <a:pt x="1711119" y="1763363"/>
                </a:lnTo>
                <a:lnTo>
                  <a:pt x="1711100" y="1763373"/>
                </a:lnTo>
                <a:lnTo>
                  <a:pt x="1711119" y="1763373"/>
                </a:lnTo>
                <a:lnTo>
                  <a:pt x="1828448" y="1484948"/>
                </a:lnTo>
                <a:lnTo>
                  <a:pt x="2614774" y="1484948"/>
                </a:lnTo>
                <a:lnTo>
                  <a:pt x="2732018" y="1763373"/>
                </a:lnTo>
                <a:lnTo>
                  <a:pt x="2824820" y="1763373"/>
                </a:lnTo>
                <a:lnTo>
                  <a:pt x="2668515" y="1392136"/>
                </a:lnTo>
                <a:lnTo>
                  <a:pt x="1867567" y="1392136"/>
                </a:lnTo>
                <a:lnTo>
                  <a:pt x="1906676" y="1299324"/>
                </a:lnTo>
                <a:lnTo>
                  <a:pt x="2722236" y="1299324"/>
                </a:lnTo>
                <a:lnTo>
                  <a:pt x="2917632" y="1763373"/>
                </a:lnTo>
                <a:lnTo>
                  <a:pt x="3010443" y="1763373"/>
                </a:lnTo>
                <a:lnTo>
                  <a:pt x="2775976" y="1206522"/>
                </a:lnTo>
                <a:lnTo>
                  <a:pt x="1852984" y="1206522"/>
                </a:lnTo>
                <a:close/>
                <a:moveTo>
                  <a:pt x="1989544" y="0"/>
                </a:moveTo>
                <a:lnTo>
                  <a:pt x="1307459" y="1617898"/>
                </a:lnTo>
                <a:lnTo>
                  <a:pt x="1366533" y="1698098"/>
                </a:lnTo>
                <a:lnTo>
                  <a:pt x="2082356" y="0"/>
                </a:lnTo>
                <a:lnTo>
                  <a:pt x="1989544" y="0"/>
                </a:lnTo>
                <a:close/>
                <a:moveTo>
                  <a:pt x="2360771" y="0"/>
                </a:moveTo>
                <a:lnTo>
                  <a:pt x="3075708" y="1698098"/>
                </a:lnTo>
                <a:lnTo>
                  <a:pt x="3134639" y="1617898"/>
                </a:lnTo>
                <a:lnTo>
                  <a:pt x="2453592" y="0"/>
                </a:lnTo>
                <a:lnTo>
                  <a:pt x="2360771" y="0"/>
                </a:lnTo>
                <a:close/>
                <a:moveTo>
                  <a:pt x="1799101" y="1113711"/>
                </a:moveTo>
                <a:lnTo>
                  <a:pt x="1524610" y="1763373"/>
                </a:lnTo>
                <a:lnTo>
                  <a:pt x="1431798" y="1763373"/>
                </a:lnTo>
                <a:lnTo>
                  <a:pt x="2128761" y="110195"/>
                </a:lnTo>
                <a:lnTo>
                  <a:pt x="2512219" y="1020899"/>
                </a:lnTo>
                <a:lnTo>
                  <a:pt x="2605021" y="1020899"/>
                </a:lnTo>
                <a:lnTo>
                  <a:pt x="2175158" y="0"/>
                </a:lnTo>
                <a:lnTo>
                  <a:pt x="2267969" y="0"/>
                </a:lnTo>
                <a:lnTo>
                  <a:pt x="2736895" y="1113701"/>
                </a:lnTo>
                <a:lnTo>
                  <a:pt x="1799101" y="1113701"/>
                </a:lnTo>
                <a:close/>
                <a:moveTo>
                  <a:pt x="2221802" y="551602"/>
                </a:moveTo>
                <a:lnTo>
                  <a:pt x="2024015" y="1020899"/>
                </a:lnTo>
                <a:lnTo>
                  <a:pt x="2419398" y="1020899"/>
                </a:lnTo>
                <a:lnTo>
                  <a:pt x="2221802" y="551602"/>
                </a:lnTo>
                <a:close/>
                <a:moveTo>
                  <a:pt x="1838163" y="1020899"/>
                </a:moveTo>
                <a:lnTo>
                  <a:pt x="1931213" y="1020899"/>
                </a:lnTo>
                <a:lnTo>
                  <a:pt x="2175415" y="441436"/>
                </a:lnTo>
                <a:lnTo>
                  <a:pt x="2128942" y="331070"/>
                </a:lnTo>
                <a:lnTo>
                  <a:pt x="1838163" y="1020899"/>
                </a:lnTo>
                <a:close/>
              </a:path>
            </a:pathLst>
          </a:custGeom>
          <a:solidFill>
            <a:schemeClr val="tx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7815272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bild | mit Bild">
    <p:bg bwMode="black"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368AAEB4-E335-41F2-8B59-BDA22239A0B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147412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10" imgH="312" progId="TCLayout.ActiveDocument.1">
                  <p:embed/>
                </p:oleObj>
              </mc:Choice>
              <mc:Fallback>
                <p:oleObj name="think-cell Folie" r:id="rId3" imgW="310" imgH="312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368AAEB4-E335-41F2-8B59-BDA22239A0B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8" name="Textplatzhalter 167">
            <a:extLst>
              <a:ext uri="{FF2B5EF4-FFF2-40B4-BE49-F238E27FC236}">
                <a16:creationId xmlns:a16="http://schemas.microsoft.com/office/drawing/2014/main" id="{91CA67B1-C872-42F5-99A5-C31B319F69A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0" y="1628775"/>
            <a:ext cx="12192000" cy="5229225"/>
          </a:xfrm>
          <a:gradFill>
            <a:gsLst>
              <a:gs pos="50000">
                <a:schemeClr val="accent3">
                  <a:alpha val="50000"/>
                </a:schemeClr>
              </a:gs>
              <a:gs pos="5000">
                <a:schemeClr val="accent3"/>
              </a:gs>
              <a:gs pos="100000">
                <a:schemeClr val="accent3">
                  <a:alpha val="20000"/>
                </a:schemeClr>
              </a:gs>
            </a:gsLst>
            <a:lin ang="5400000" scaled="1"/>
          </a:gradFill>
        </p:spPr>
        <p:txBody>
          <a:bodyPr vert="horz" wrap="square" lIns="540000" tIns="1188000" rIns="0" bIns="0" rtlCol="0" anchor="t" anchorCtr="0">
            <a:noAutofit/>
          </a:bodyPr>
          <a:lstStyle>
            <a:lvl1pPr>
              <a:defRPr lang="de-DE" sz="4000" b="1" dirty="0">
                <a:latin typeface="+mj-lt"/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de-DE" dirty="0"/>
              <a:t> </a:t>
            </a:r>
          </a:p>
        </p:txBody>
      </p:sp>
      <p:sp>
        <p:nvSpPr>
          <p:cNvPr id="100" name="Bildplatzhalter 60">
            <a:extLst>
              <a:ext uri="{FF2B5EF4-FFF2-40B4-BE49-F238E27FC236}">
                <a16:creationId xmlns:a16="http://schemas.microsoft.com/office/drawing/2014/main" id="{93766078-34F5-4986-9D9B-648C76B00D8E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 bwMode="auto">
          <a:xfrm>
            <a:off x="0" y="1628775"/>
            <a:ext cx="12192000" cy="5229226"/>
          </a:xfrm>
          <a:solidFill>
            <a:schemeClr val="tx1">
              <a:lumMod val="95000"/>
            </a:schemeClr>
          </a:solidFill>
        </p:spPr>
        <p:txBody>
          <a:bodyPr/>
          <a:lstStyle/>
          <a:p>
            <a:r>
              <a:rPr lang="de-DE" dirty="0"/>
              <a:t> </a:t>
            </a:r>
          </a:p>
        </p:txBody>
      </p:sp>
      <p:sp>
        <p:nvSpPr>
          <p:cNvPr id="6" name="Freihandform: Form 5">
            <a:extLst>
              <a:ext uri="{FF2B5EF4-FFF2-40B4-BE49-F238E27FC236}">
                <a16:creationId xmlns:a16="http://schemas.microsoft.com/office/drawing/2014/main" id="{DB0B422D-422E-4796-8EA3-E0C93BC35646}"/>
              </a:ext>
            </a:extLst>
          </p:cNvPr>
          <p:cNvSpPr/>
          <p:nvPr/>
        </p:nvSpPr>
        <p:spPr>
          <a:xfrm>
            <a:off x="10056938" y="300703"/>
            <a:ext cx="1619125" cy="618155"/>
          </a:xfrm>
          <a:custGeom>
            <a:avLst/>
            <a:gdLst>
              <a:gd name="connsiteX0" fmla="*/ 0 w 1456912"/>
              <a:gd name="connsiteY0" fmla="*/ 51854 h 556225"/>
              <a:gd name="connsiteX1" fmla="*/ 28188 w 1456912"/>
              <a:gd name="connsiteY1" fmla="*/ 23666 h 556225"/>
              <a:gd name="connsiteX2" fmla="*/ 28188 w 1456912"/>
              <a:gd name="connsiteY2" fmla="*/ 535557 h 556225"/>
              <a:gd name="connsiteX3" fmla="*/ 0 w 1456912"/>
              <a:gd name="connsiteY3" fmla="*/ 535557 h 556225"/>
              <a:gd name="connsiteX4" fmla="*/ 0 w 1456912"/>
              <a:gd name="connsiteY4" fmla="*/ 51854 h 556225"/>
              <a:gd name="connsiteX5" fmla="*/ 84564 w 1456912"/>
              <a:gd name="connsiteY5" fmla="*/ 28188 h 556225"/>
              <a:gd name="connsiteX6" fmla="*/ 422811 w 1456912"/>
              <a:gd name="connsiteY6" fmla="*/ 28188 h 556225"/>
              <a:gd name="connsiteX7" fmla="*/ 422811 w 1456912"/>
              <a:gd name="connsiteY7" fmla="*/ 0 h 556225"/>
              <a:gd name="connsiteX8" fmla="*/ 56376 w 1456912"/>
              <a:gd name="connsiteY8" fmla="*/ 0 h 556225"/>
              <a:gd name="connsiteX9" fmla="*/ 56376 w 1456912"/>
              <a:gd name="connsiteY9" fmla="*/ 338244 h 556225"/>
              <a:gd name="connsiteX10" fmla="*/ 367711 w 1456912"/>
              <a:gd name="connsiteY10" fmla="*/ 338244 h 556225"/>
              <a:gd name="connsiteX11" fmla="*/ 367711 w 1456912"/>
              <a:gd name="connsiteY11" fmla="*/ 310062 h 556225"/>
              <a:gd name="connsiteX12" fmla="*/ 84564 w 1456912"/>
              <a:gd name="connsiteY12" fmla="*/ 310062 h 556225"/>
              <a:gd name="connsiteX13" fmla="*/ 84564 w 1456912"/>
              <a:gd name="connsiteY13" fmla="*/ 28188 h 556225"/>
              <a:gd name="connsiteX14" fmla="*/ 410152 w 1456912"/>
              <a:gd name="connsiteY14" fmla="*/ 253686 h 556225"/>
              <a:gd name="connsiteX15" fmla="*/ 140937 w 1456912"/>
              <a:gd name="connsiteY15" fmla="*/ 253686 h 556225"/>
              <a:gd name="connsiteX16" fmla="*/ 140937 w 1456912"/>
              <a:gd name="connsiteY16" fmla="*/ 140940 h 556225"/>
              <a:gd name="connsiteX17" fmla="*/ 371171 w 1456912"/>
              <a:gd name="connsiteY17" fmla="*/ 140940 h 556225"/>
              <a:gd name="connsiteX18" fmla="*/ 399359 w 1456912"/>
              <a:gd name="connsiteY18" fmla="*/ 112752 h 556225"/>
              <a:gd name="connsiteX19" fmla="*/ 140937 w 1456912"/>
              <a:gd name="connsiteY19" fmla="*/ 112752 h 556225"/>
              <a:gd name="connsiteX20" fmla="*/ 140937 w 1456912"/>
              <a:gd name="connsiteY20" fmla="*/ 84564 h 556225"/>
              <a:gd name="connsiteX21" fmla="*/ 422811 w 1456912"/>
              <a:gd name="connsiteY21" fmla="*/ 84564 h 556225"/>
              <a:gd name="connsiteX22" fmla="*/ 422811 w 1456912"/>
              <a:gd name="connsiteY22" fmla="*/ 56376 h 556225"/>
              <a:gd name="connsiteX23" fmla="*/ 112749 w 1456912"/>
              <a:gd name="connsiteY23" fmla="*/ 56376 h 556225"/>
              <a:gd name="connsiteX24" fmla="*/ 112749 w 1456912"/>
              <a:gd name="connsiteY24" fmla="*/ 281874 h 556225"/>
              <a:gd name="connsiteX25" fmla="*/ 382334 w 1456912"/>
              <a:gd name="connsiteY25" fmla="*/ 281874 h 556225"/>
              <a:gd name="connsiteX26" fmla="*/ 410152 w 1456912"/>
              <a:gd name="connsiteY26" fmla="*/ 253686 h 556225"/>
              <a:gd name="connsiteX27" fmla="*/ 56376 w 1456912"/>
              <a:gd name="connsiteY27" fmla="*/ 535557 h 556225"/>
              <a:gd name="connsiteX28" fmla="*/ 84564 w 1456912"/>
              <a:gd name="connsiteY28" fmla="*/ 535557 h 556225"/>
              <a:gd name="connsiteX29" fmla="*/ 84564 w 1456912"/>
              <a:gd name="connsiteY29" fmla="*/ 394620 h 556225"/>
              <a:gd name="connsiteX30" fmla="*/ 112752 w 1456912"/>
              <a:gd name="connsiteY30" fmla="*/ 394620 h 556225"/>
              <a:gd name="connsiteX31" fmla="*/ 112752 w 1456912"/>
              <a:gd name="connsiteY31" fmla="*/ 511890 h 556225"/>
              <a:gd name="connsiteX32" fmla="*/ 140940 w 1456912"/>
              <a:gd name="connsiteY32" fmla="*/ 483705 h 556225"/>
              <a:gd name="connsiteX33" fmla="*/ 140940 w 1456912"/>
              <a:gd name="connsiteY33" fmla="*/ 394620 h 556225"/>
              <a:gd name="connsiteX34" fmla="*/ 367714 w 1456912"/>
              <a:gd name="connsiteY34" fmla="*/ 394620 h 556225"/>
              <a:gd name="connsiteX35" fmla="*/ 367714 w 1456912"/>
              <a:gd name="connsiteY35" fmla="*/ 366435 h 556225"/>
              <a:gd name="connsiteX36" fmla="*/ 56376 w 1456912"/>
              <a:gd name="connsiteY36" fmla="*/ 366435 h 556225"/>
              <a:gd name="connsiteX37" fmla="*/ 56376 w 1456912"/>
              <a:gd name="connsiteY37" fmla="*/ 535557 h 556225"/>
              <a:gd name="connsiteX38" fmla="*/ 1428724 w 1456912"/>
              <a:gd name="connsiteY38" fmla="*/ 0 h 556225"/>
              <a:gd name="connsiteX39" fmla="*/ 1428724 w 1456912"/>
              <a:gd name="connsiteY39" fmla="*/ 324156 h 556225"/>
              <a:gd name="connsiteX40" fmla="*/ 1316539 w 1456912"/>
              <a:gd name="connsiteY40" fmla="*/ 514089 h 556225"/>
              <a:gd name="connsiteX41" fmla="*/ 1315903 w 1456912"/>
              <a:gd name="connsiteY41" fmla="*/ 513258 h 556225"/>
              <a:gd name="connsiteX42" fmla="*/ 1400536 w 1456912"/>
              <a:gd name="connsiteY42" fmla="*/ 351869 h 556225"/>
              <a:gd name="connsiteX43" fmla="*/ 1400536 w 1456912"/>
              <a:gd name="connsiteY43" fmla="*/ 3 h 556225"/>
              <a:gd name="connsiteX44" fmla="*/ 1372348 w 1456912"/>
              <a:gd name="connsiteY44" fmla="*/ 3 h 556225"/>
              <a:gd name="connsiteX45" fmla="*/ 1372348 w 1456912"/>
              <a:gd name="connsiteY45" fmla="*/ 351400 h 556225"/>
              <a:gd name="connsiteX46" fmla="*/ 1189132 w 1456912"/>
              <a:gd name="connsiteY46" fmla="*/ 528510 h 556225"/>
              <a:gd name="connsiteX47" fmla="*/ 1005916 w 1456912"/>
              <a:gd name="connsiteY47" fmla="*/ 351400 h 556225"/>
              <a:gd name="connsiteX48" fmla="*/ 1005916 w 1456912"/>
              <a:gd name="connsiteY48" fmla="*/ 23666 h 556225"/>
              <a:gd name="connsiteX49" fmla="*/ 977728 w 1456912"/>
              <a:gd name="connsiteY49" fmla="*/ 51854 h 556225"/>
              <a:gd name="connsiteX50" fmla="*/ 977728 w 1456912"/>
              <a:gd name="connsiteY50" fmla="*/ 351869 h 556225"/>
              <a:gd name="connsiteX51" fmla="*/ 1189132 w 1456912"/>
              <a:gd name="connsiteY51" fmla="*/ 556226 h 556225"/>
              <a:gd name="connsiteX52" fmla="*/ 1217320 w 1456912"/>
              <a:gd name="connsiteY52" fmla="*/ 556226 h 556225"/>
              <a:gd name="connsiteX53" fmla="*/ 1456912 w 1456912"/>
              <a:gd name="connsiteY53" fmla="*/ 324566 h 556225"/>
              <a:gd name="connsiteX54" fmla="*/ 1456912 w 1456912"/>
              <a:gd name="connsiteY54" fmla="*/ 0 h 556225"/>
              <a:gd name="connsiteX55" fmla="*/ 1428724 w 1456912"/>
              <a:gd name="connsiteY55" fmla="*/ 0 h 556225"/>
              <a:gd name="connsiteX56" fmla="*/ 1189132 w 1456912"/>
              <a:gd name="connsiteY56" fmla="*/ 500322 h 556225"/>
              <a:gd name="connsiteX57" fmla="*/ 1344160 w 1456912"/>
              <a:gd name="connsiteY57" fmla="*/ 351400 h 556225"/>
              <a:gd name="connsiteX58" fmla="*/ 1344160 w 1456912"/>
              <a:gd name="connsiteY58" fmla="*/ 351400 h 556225"/>
              <a:gd name="connsiteX59" fmla="*/ 1344160 w 1456912"/>
              <a:gd name="connsiteY59" fmla="*/ 23666 h 556225"/>
              <a:gd name="connsiteX60" fmla="*/ 1315972 w 1456912"/>
              <a:gd name="connsiteY60" fmla="*/ 51854 h 556225"/>
              <a:gd name="connsiteX61" fmla="*/ 1315972 w 1456912"/>
              <a:gd name="connsiteY61" fmla="*/ 324153 h 556225"/>
              <a:gd name="connsiteX62" fmla="*/ 1217317 w 1456912"/>
              <a:gd name="connsiteY62" fmla="*/ 415761 h 556225"/>
              <a:gd name="connsiteX63" fmla="*/ 1118662 w 1456912"/>
              <a:gd name="connsiteY63" fmla="*/ 324153 h 556225"/>
              <a:gd name="connsiteX64" fmla="*/ 1118662 w 1456912"/>
              <a:gd name="connsiteY64" fmla="*/ 3 h 556225"/>
              <a:gd name="connsiteX65" fmla="*/ 1090474 w 1456912"/>
              <a:gd name="connsiteY65" fmla="*/ 3 h 556225"/>
              <a:gd name="connsiteX66" fmla="*/ 1090474 w 1456912"/>
              <a:gd name="connsiteY66" fmla="*/ 324156 h 556225"/>
              <a:gd name="connsiteX67" fmla="*/ 1217317 w 1456912"/>
              <a:gd name="connsiteY67" fmla="*/ 443951 h 556225"/>
              <a:gd name="connsiteX68" fmla="*/ 1304349 w 1456912"/>
              <a:gd name="connsiteY68" fmla="*/ 404889 h 556225"/>
              <a:gd name="connsiteX69" fmla="*/ 1304982 w 1456912"/>
              <a:gd name="connsiteY69" fmla="*/ 405720 h 556225"/>
              <a:gd name="connsiteX70" fmla="*/ 1189129 w 1456912"/>
              <a:gd name="connsiteY70" fmla="*/ 472139 h 556225"/>
              <a:gd name="connsiteX71" fmla="*/ 1062303 w 1456912"/>
              <a:gd name="connsiteY71" fmla="*/ 352344 h 556225"/>
              <a:gd name="connsiteX72" fmla="*/ 1062286 w 1456912"/>
              <a:gd name="connsiteY72" fmla="*/ 352344 h 556225"/>
              <a:gd name="connsiteX73" fmla="*/ 1062286 w 1456912"/>
              <a:gd name="connsiteY73" fmla="*/ 3 h 556225"/>
              <a:gd name="connsiteX74" fmla="*/ 1034098 w 1456912"/>
              <a:gd name="connsiteY74" fmla="*/ 3 h 556225"/>
              <a:gd name="connsiteX75" fmla="*/ 1034098 w 1456912"/>
              <a:gd name="connsiteY75" fmla="*/ 352341 h 556225"/>
              <a:gd name="connsiteX76" fmla="*/ 1034113 w 1456912"/>
              <a:gd name="connsiteY76" fmla="*/ 352341 h 556225"/>
              <a:gd name="connsiteX77" fmla="*/ 1189132 w 1456912"/>
              <a:gd name="connsiteY77" fmla="*/ 500322 h 556225"/>
              <a:gd name="connsiteX78" fmla="*/ 562774 w 1456912"/>
              <a:gd name="connsiteY78" fmla="*/ 366435 h 556225"/>
              <a:gd name="connsiteX79" fmla="*/ 491494 w 1456912"/>
              <a:gd name="connsiteY79" fmla="*/ 535557 h 556225"/>
              <a:gd name="connsiteX80" fmla="*/ 519684 w 1456912"/>
              <a:gd name="connsiteY80" fmla="*/ 535554 h 556225"/>
              <a:gd name="connsiteX81" fmla="*/ 519682 w 1456912"/>
              <a:gd name="connsiteY81" fmla="*/ 535557 h 556225"/>
              <a:gd name="connsiteX82" fmla="*/ 519684 w 1456912"/>
              <a:gd name="connsiteY82" fmla="*/ 535557 h 556225"/>
              <a:gd name="connsiteX83" fmla="*/ 555322 w 1456912"/>
              <a:gd name="connsiteY83" fmla="*/ 450996 h 556225"/>
              <a:gd name="connsiteX84" fmla="*/ 794138 w 1456912"/>
              <a:gd name="connsiteY84" fmla="*/ 450996 h 556225"/>
              <a:gd name="connsiteX85" fmla="*/ 829744 w 1456912"/>
              <a:gd name="connsiteY85" fmla="*/ 535557 h 556225"/>
              <a:gd name="connsiteX86" fmla="*/ 857932 w 1456912"/>
              <a:gd name="connsiteY86" fmla="*/ 535557 h 556225"/>
              <a:gd name="connsiteX87" fmla="*/ 810457 w 1456912"/>
              <a:gd name="connsiteY87" fmla="*/ 422808 h 556225"/>
              <a:gd name="connsiteX88" fmla="*/ 567200 w 1456912"/>
              <a:gd name="connsiteY88" fmla="*/ 422808 h 556225"/>
              <a:gd name="connsiteX89" fmla="*/ 579078 w 1456912"/>
              <a:gd name="connsiteY89" fmla="*/ 394620 h 556225"/>
              <a:gd name="connsiteX90" fmla="*/ 826776 w 1456912"/>
              <a:gd name="connsiteY90" fmla="*/ 394620 h 556225"/>
              <a:gd name="connsiteX91" fmla="*/ 886120 w 1456912"/>
              <a:gd name="connsiteY91" fmla="*/ 535557 h 556225"/>
              <a:gd name="connsiteX92" fmla="*/ 914308 w 1456912"/>
              <a:gd name="connsiteY92" fmla="*/ 535557 h 556225"/>
              <a:gd name="connsiteX93" fmla="*/ 843097 w 1456912"/>
              <a:gd name="connsiteY93" fmla="*/ 366435 h 556225"/>
              <a:gd name="connsiteX94" fmla="*/ 562774 w 1456912"/>
              <a:gd name="connsiteY94" fmla="*/ 366435 h 556225"/>
              <a:gd name="connsiteX95" fmla="*/ 604248 w 1456912"/>
              <a:gd name="connsiteY95" fmla="*/ 0 h 556225"/>
              <a:gd name="connsiteX96" fmla="*/ 397091 w 1456912"/>
              <a:gd name="connsiteY96" fmla="*/ 491374 h 556225"/>
              <a:gd name="connsiteX97" fmla="*/ 415032 w 1456912"/>
              <a:gd name="connsiteY97" fmla="*/ 515732 h 556225"/>
              <a:gd name="connsiteX98" fmla="*/ 632437 w 1456912"/>
              <a:gd name="connsiteY98" fmla="*/ 0 h 556225"/>
              <a:gd name="connsiteX99" fmla="*/ 604248 w 1456912"/>
              <a:gd name="connsiteY99" fmla="*/ 0 h 556225"/>
              <a:gd name="connsiteX100" fmla="*/ 716998 w 1456912"/>
              <a:gd name="connsiteY100" fmla="*/ 3 h 556225"/>
              <a:gd name="connsiteX101" fmla="*/ 934130 w 1456912"/>
              <a:gd name="connsiteY101" fmla="*/ 515735 h 556225"/>
              <a:gd name="connsiteX102" fmla="*/ 952028 w 1456912"/>
              <a:gd name="connsiteY102" fmla="*/ 491377 h 556225"/>
              <a:gd name="connsiteX103" fmla="*/ 745186 w 1456912"/>
              <a:gd name="connsiteY103" fmla="*/ 3 h 556225"/>
              <a:gd name="connsiteX104" fmla="*/ 716998 w 1456912"/>
              <a:gd name="connsiteY104" fmla="*/ 3 h 556225"/>
              <a:gd name="connsiteX105" fmla="*/ 546409 w 1456912"/>
              <a:gd name="connsiteY105" fmla="*/ 338247 h 556225"/>
              <a:gd name="connsiteX106" fmla="*/ 463042 w 1456912"/>
              <a:gd name="connsiteY106" fmla="*/ 535557 h 556225"/>
              <a:gd name="connsiteX107" fmla="*/ 434854 w 1456912"/>
              <a:gd name="connsiteY107" fmla="*/ 535557 h 556225"/>
              <a:gd name="connsiteX108" fmla="*/ 646528 w 1456912"/>
              <a:gd name="connsiteY108" fmla="*/ 33467 h 556225"/>
              <a:gd name="connsiteX109" fmla="*/ 762988 w 1456912"/>
              <a:gd name="connsiteY109" fmla="*/ 310059 h 556225"/>
              <a:gd name="connsiteX110" fmla="*/ 791176 w 1456912"/>
              <a:gd name="connsiteY110" fmla="*/ 310059 h 556225"/>
              <a:gd name="connsiteX111" fmla="*/ 660624 w 1456912"/>
              <a:gd name="connsiteY111" fmla="*/ 3 h 556225"/>
              <a:gd name="connsiteX112" fmla="*/ 688812 w 1456912"/>
              <a:gd name="connsiteY112" fmla="*/ 3 h 556225"/>
              <a:gd name="connsiteX113" fmla="*/ 831231 w 1456912"/>
              <a:gd name="connsiteY113" fmla="*/ 338247 h 556225"/>
              <a:gd name="connsiteX114" fmla="*/ 546409 w 1456912"/>
              <a:gd name="connsiteY114" fmla="*/ 338247 h 556225"/>
              <a:gd name="connsiteX115" fmla="*/ 674788 w 1456912"/>
              <a:gd name="connsiteY115" fmla="*/ 167531 h 556225"/>
              <a:gd name="connsiteX116" fmla="*/ 614721 w 1456912"/>
              <a:gd name="connsiteY116" fmla="*/ 310062 h 556225"/>
              <a:gd name="connsiteX117" fmla="*/ 734800 w 1456912"/>
              <a:gd name="connsiteY117" fmla="*/ 310062 h 556225"/>
              <a:gd name="connsiteX118" fmla="*/ 674788 w 1456912"/>
              <a:gd name="connsiteY118" fmla="*/ 167531 h 556225"/>
              <a:gd name="connsiteX119" fmla="*/ 558275 w 1456912"/>
              <a:gd name="connsiteY119" fmla="*/ 310062 h 556225"/>
              <a:gd name="connsiteX120" fmla="*/ 586535 w 1456912"/>
              <a:gd name="connsiteY120" fmla="*/ 310062 h 556225"/>
              <a:gd name="connsiteX121" fmla="*/ 660703 w 1456912"/>
              <a:gd name="connsiteY121" fmla="*/ 134072 h 556225"/>
              <a:gd name="connsiteX122" fmla="*/ 646588 w 1456912"/>
              <a:gd name="connsiteY122" fmla="*/ 100553 h 556225"/>
              <a:gd name="connsiteX123" fmla="*/ 558275 w 1456912"/>
              <a:gd name="connsiteY123" fmla="*/ 310062 h 5562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</a:cxnLst>
            <a:rect l="l" t="t" r="r" b="b"/>
            <a:pathLst>
              <a:path w="1456912" h="556225">
                <a:moveTo>
                  <a:pt x="0" y="51854"/>
                </a:moveTo>
                <a:lnTo>
                  <a:pt x="28188" y="23666"/>
                </a:lnTo>
                <a:lnTo>
                  <a:pt x="28188" y="535557"/>
                </a:lnTo>
                <a:lnTo>
                  <a:pt x="0" y="535557"/>
                </a:lnTo>
                <a:lnTo>
                  <a:pt x="0" y="51854"/>
                </a:lnTo>
                <a:close/>
                <a:moveTo>
                  <a:pt x="84564" y="28188"/>
                </a:moveTo>
                <a:lnTo>
                  <a:pt x="422811" y="28188"/>
                </a:lnTo>
                <a:lnTo>
                  <a:pt x="422811" y="0"/>
                </a:lnTo>
                <a:lnTo>
                  <a:pt x="56376" y="0"/>
                </a:lnTo>
                <a:lnTo>
                  <a:pt x="56376" y="338244"/>
                </a:lnTo>
                <a:lnTo>
                  <a:pt x="367711" y="338244"/>
                </a:lnTo>
                <a:lnTo>
                  <a:pt x="367711" y="310062"/>
                </a:lnTo>
                <a:lnTo>
                  <a:pt x="84564" y="310062"/>
                </a:lnTo>
                <a:lnTo>
                  <a:pt x="84564" y="28188"/>
                </a:lnTo>
                <a:close/>
                <a:moveTo>
                  <a:pt x="410152" y="253686"/>
                </a:moveTo>
                <a:lnTo>
                  <a:pt x="140937" y="253686"/>
                </a:lnTo>
                <a:lnTo>
                  <a:pt x="140937" y="140940"/>
                </a:lnTo>
                <a:lnTo>
                  <a:pt x="371171" y="140940"/>
                </a:lnTo>
                <a:lnTo>
                  <a:pt x="399359" y="112752"/>
                </a:lnTo>
                <a:lnTo>
                  <a:pt x="140937" y="112752"/>
                </a:lnTo>
                <a:lnTo>
                  <a:pt x="140937" y="84564"/>
                </a:lnTo>
                <a:lnTo>
                  <a:pt x="422811" y="84564"/>
                </a:lnTo>
                <a:lnTo>
                  <a:pt x="422811" y="56376"/>
                </a:lnTo>
                <a:lnTo>
                  <a:pt x="112749" y="56376"/>
                </a:lnTo>
                <a:lnTo>
                  <a:pt x="112749" y="281874"/>
                </a:lnTo>
                <a:lnTo>
                  <a:pt x="382334" y="281874"/>
                </a:lnTo>
                <a:lnTo>
                  <a:pt x="410152" y="253686"/>
                </a:lnTo>
                <a:close/>
                <a:moveTo>
                  <a:pt x="56376" y="535557"/>
                </a:moveTo>
                <a:lnTo>
                  <a:pt x="84564" y="535557"/>
                </a:lnTo>
                <a:lnTo>
                  <a:pt x="84564" y="394620"/>
                </a:lnTo>
                <a:lnTo>
                  <a:pt x="112752" y="394620"/>
                </a:lnTo>
                <a:lnTo>
                  <a:pt x="112752" y="511890"/>
                </a:lnTo>
                <a:lnTo>
                  <a:pt x="140940" y="483705"/>
                </a:lnTo>
                <a:lnTo>
                  <a:pt x="140940" y="394620"/>
                </a:lnTo>
                <a:lnTo>
                  <a:pt x="367714" y="394620"/>
                </a:lnTo>
                <a:lnTo>
                  <a:pt x="367714" y="366435"/>
                </a:lnTo>
                <a:lnTo>
                  <a:pt x="56376" y="366435"/>
                </a:lnTo>
                <a:lnTo>
                  <a:pt x="56376" y="535557"/>
                </a:lnTo>
                <a:close/>
                <a:moveTo>
                  <a:pt x="1428724" y="0"/>
                </a:moveTo>
                <a:lnTo>
                  <a:pt x="1428724" y="324156"/>
                </a:lnTo>
                <a:cubicBezTo>
                  <a:pt x="1428724" y="399584"/>
                  <a:pt x="1395069" y="464387"/>
                  <a:pt x="1316539" y="514089"/>
                </a:cubicBezTo>
                <a:lnTo>
                  <a:pt x="1315903" y="513258"/>
                </a:lnTo>
                <a:cubicBezTo>
                  <a:pt x="1367503" y="472336"/>
                  <a:pt x="1400536" y="419773"/>
                  <a:pt x="1400536" y="351869"/>
                </a:cubicBezTo>
                <a:lnTo>
                  <a:pt x="1400536" y="3"/>
                </a:lnTo>
                <a:lnTo>
                  <a:pt x="1372348" y="3"/>
                </a:lnTo>
                <a:lnTo>
                  <a:pt x="1372348" y="351400"/>
                </a:lnTo>
                <a:cubicBezTo>
                  <a:pt x="1372348" y="452590"/>
                  <a:pt x="1290318" y="528510"/>
                  <a:pt x="1189132" y="528510"/>
                </a:cubicBezTo>
                <a:cubicBezTo>
                  <a:pt x="1087946" y="528510"/>
                  <a:pt x="1005916" y="452587"/>
                  <a:pt x="1005916" y="351400"/>
                </a:cubicBezTo>
                <a:lnTo>
                  <a:pt x="1005916" y="23666"/>
                </a:lnTo>
                <a:lnTo>
                  <a:pt x="977728" y="51854"/>
                </a:lnTo>
                <a:lnTo>
                  <a:pt x="977728" y="351869"/>
                </a:lnTo>
                <a:cubicBezTo>
                  <a:pt x="977728" y="468625"/>
                  <a:pt x="1072376" y="556226"/>
                  <a:pt x="1189132" y="556226"/>
                </a:cubicBezTo>
                <a:cubicBezTo>
                  <a:pt x="1191834" y="556226"/>
                  <a:pt x="1217320" y="556226"/>
                  <a:pt x="1217320" y="556226"/>
                </a:cubicBezTo>
                <a:cubicBezTo>
                  <a:pt x="1332291" y="556226"/>
                  <a:pt x="1456912" y="471321"/>
                  <a:pt x="1456912" y="324566"/>
                </a:cubicBezTo>
                <a:cubicBezTo>
                  <a:pt x="1456912" y="324428"/>
                  <a:pt x="1456912" y="0"/>
                  <a:pt x="1456912" y="0"/>
                </a:cubicBezTo>
                <a:lnTo>
                  <a:pt x="1428724" y="0"/>
                </a:lnTo>
                <a:close/>
                <a:moveTo>
                  <a:pt x="1189132" y="500322"/>
                </a:moveTo>
                <a:cubicBezTo>
                  <a:pt x="1274706" y="500322"/>
                  <a:pt x="1344082" y="436948"/>
                  <a:pt x="1344160" y="351400"/>
                </a:cubicBezTo>
                <a:lnTo>
                  <a:pt x="1344160" y="351400"/>
                </a:lnTo>
                <a:lnTo>
                  <a:pt x="1344160" y="23666"/>
                </a:lnTo>
                <a:lnTo>
                  <a:pt x="1315972" y="51854"/>
                </a:lnTo>
                <a:lnTo>
                  <a:pt x="1315972" y="324153"/>
                </a:lnTo>
                <a:cubicBezTo>
                  <a:pt x="1315972" y="378637"/>
                  <a:pt x="1271801" y="415761"/>
                  <a:pt x="1217317" y="415761"/>
                </a:cubicBezTo>
                <a:cubicBezTo>
                  <a:pt x="1162833" y="415761"/>
                  <a:pt x="1118662" y="378637"/>
                  <a:pt x="1118662" y="324153"/>
                </a:cubicBezTo>
                <a:lnTo>
                  <a:pt x="1118662" y="3"/>
                </a:lnTo>
                <a:lnTo>
                  <a:pt x="1090474" y="3"/>
                </a:lnTo>
                <a:lnTo>
                  <a:pt x="1090474" y="324156"/>
                </a:lnTo>
                <a:cubicBezTo>
                  <a:pt x="1090474" y="394209"/>
                  <a:pt x="1147264" y="443951"/>
                  <a:pt x="1217317" y="443951"/>
                </a:cubicBezTo>
                <a:cubicBezTo>
                  <a:pt x="1245962" y="443951"/>
                  <a:pt x="1280732" y="429800"/>
                  <a:pt x="1304349" y="404889"/>
                </a:cubicBezTo>
                <a:lnTo>
                  <a:pt x="1304982" y="405720"/>
                </a:lnTo>
                <a:cubicBezTo>
                  <a:pt x="1282838" y="446784"/>
                  <a:pt x="1241907" y="472139"/>
                  <a:pt x="1189129" y="472139"/>
                </a:cubicBezTo>
                <a:cubicBezTo>
                  <a:pt x="1119507" y="472139"/>
                  <a:pt x="1062992" y="421734"/>
                  <a:pt x="1062303" y="352344"/>
                </a:cubicBezTo>
                <a:lnTo>
                  <a:pt x="1062286" y="352344"/>
                </a:lnTo>
                <a:lnTo>
                  <a:pt x="1062286" y="3"/>
                </a:lnTo>
                <a:lnTo>
                  <a:pt x="1034098" y="3"/>
                </a:lnTo>
                <a:lnTo>
                  <a:pt x="1034098" y="352341"/>
                </a:lnTo>
                <a:lnTo>
                  <a:pt x="1034113" y="352341"/>
                </a:lnTo>
                <a:cubicBezTo>
                  <a:pt x="1034703" y="437411"/>
                  <a:pt x="1103877" y="500322"/>
                  <a:pt x="1189132" y="500322"/>
                </a:cubicBezTo>
                <a:close/>
                <a:moveTo>
                  <a:pt x="562774" y="366435"/>
                </a:moveTo>
                <a:lnTo>
                  <a:pt x="491494" y="535557"/>
                </a:lnTo>
                <a:lnTo>
                  <a:pt x="519684" y="535554"/>
                </a:lnTo>
                <a:lnTo>
                  <a:pt x="519682" y="535557"/>
                </a:lnTo>
                <a:lnTo>
                  <a:pt x="519684" y="535557"/>
                </a:lnTo>
                <a:lnTo>
                  <a:pt x="555322" y="450996"/>
                </a:lnTo>
                <a:lnTo>
                  <a:pt x="794138" y="450996"/>
                </a:lnTo>
                <a:lnTo>
                  <a:pt x="829744" y="535557"/>
                </a:lnTo>
                <a:lnTo>
                  <a:pt x="857932" y="535557"/>
                </a:lnTo>
                <a:lnTo>
                  <a:pt x="810457" y="422808"/>
                </a:lnTo>
                <a:lnTo>
                  <a:pt x="567200" y="422808"/>
                </a:lnTo>
                <a:lnTo>
                  <a:pt x="579078" y="394620"/>
                </a:lnTo>
                <a:lnTo>
                  <a:pt x="826776" y="394620"/>
                </a:lnTo>
                <a:lnTo>
                  <a:pt x="886120" y="535557"/>
                </a:lnTo>
                <a:lnTo>
                  <a:pt x="914308" y="535557"/>
                </a:lnTo>
                <a:lnTo>
                  <a:pt x="843097" y="366435"/>
                </a:lnTo>
                <a:lnTo>
                  <a:pt x="562774" y="366435"/>
                </a:lnTo>
                <a:close/>
                <a:moveTo>
                  <a:pt x="604248" y="0"/>
                </a:moveTo>
                <a:lnTo>
                  <a:pt x="397091" y="491374"/>
                </a:lnTo>
                <a:lnTo>
                  <a:pt x="415032" y="515732"/>
                </a:lnTo>
                <a:lnTo>
                  <a:pt x="632437" y="0"/>
                </a:lnTo>
                <a:lnTo>
                  <a:pt x="604248" y="0"/>
                </a:lnTo>
                <a:close/>
                <a:moveTo>
                  <a:pt x="716998" y="3"/>
                </a:moveTo>
                <a:lnTo>
                  <a:pt x="934130" y="515735"/>
                </a:lnTo>
                <a:lnTo>
                  <a:pt x="952028" y="491377"/>
                </a:lnTo>
                <a:lnTo>
                  <a:pt x="745186" y="3"/>
                </a:lnTo>
                <a:lnTo>
                  <a:pt x="716998" y="3"/>
                </a:lnTo>
                <a:close/>
                <a:moveTo>
                  <a:pt x="546409" y="338247"/>
                </a:moveTo>
                <a:lnTo>
                  <a:pt x="463042" y="535557"/>
                </a:lnTo>
                <a:lnTo>
                  <a:pt x="434854" y="535557"/>
                </a:lnTo>
                <a:lnTo>
                  <a:pt x="646528" y="33467"/>
                </a:lnTo>
                <a:lnTo>
                  <a:pt x="762988" y="310059"/>
                </a:lnTo>
                <a:lnTo>
                  <a:pt x="791176" y="310059"/>
                </a:lnTo>
                <a:lnTo>
                  <a:pt x="660624" y="3"/>
                </a:lnTo>
                <a:lnTo>
                  <a:pt x="688812" y="3"/>
                </a:lnTo>
                <a:lnTo>
                  <a:pt x="831231" y="338247"/>
                </a:lnTo>
                <a:lnTo>
                  <a:pt x="546409" y="338247"/>
                </a:lnTo>
                <a:close/>
                <a:moveTo>
                  <a:pt x="674788" y="167531"/>
                </a:moveTo>
                <a:lnTo>
                  <a:pt x="614721" y="310062"/>
                </a:lnTo>
                <a:lnTo>
                  <a:pt x="734800" y="310062"/>
                </a:lnTo>
                <a:lnTo>
                  <a:pt x="674788" y="167531"/>
                </a:lnTo>
                <a:close/>
                <a:moveTo>
                  <a:pt x="558275" y="310062"/>
                </a:moveTo>
                <a:lnTo>
                  <a:pt x="586535" y="310062"/>
                </a:lnTo>
                <a:lnTo>
                  <a:pt x="660703" y="134072"/>
                </a:lnTo>
                <a:lnTo>
                  <a:pt x="646588" y="100553"/>
                </a:lnTo>
                <a:lnTo>
                  <a:pt x="558275" y="310062"/>
                </a:lnTo>
                <a:close/>
              </a:path>
            </a:pathLst>
          </a:custGeom>
          <a:solidFill>
            <a:schemeClr val="tx1"/>
          </a:solidFill>
          <a:ln w="2892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286" name="Rechteck 285">
            <a:extLst>
              <a:ext uri="{FF2B5EF4-FFF2-40B4-BE49-F238E27FC236}">
                <a16:creationId xmlns:a16="http://schemas.microsoft.com/office/drawing/2014/main" id="{E92F8CF9-198A-4C8B-9010-0DB32F87536F}"/>
              </a:ext>
            </a:extLst>
          </p:cNvPr>
          <p:cNvSpPr/>
          <p:nvPr userDrawn="1"/>
        </p:nvSpPr>
        <p:spPr>
          <a:xfrm>
            <a:off x="518400" y="1413835"/>
            <a:ext cx="11676062" cy="72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104" name="Grafik 103">
            <a:extLst>
              <a:ext uri="{FF2B5EF4-FFF2-40B4-BE49-F238E27FC236}">
                <a16:creationId xmlns:a16="http://schemas.microsoft.com/office/drawing/2014/main" id="{7922E846-554F-4AB9-AC00-AEF207AD9863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509578" y="293687"/>
            <a:ext cx="2604169" cy="556887"/>
          </a:xfrm>
          <a:prstGeom prst="rect">
            <a:avLst/>
          </a:prstGeom>
        </p:spPr>
      </p:pic>
      <p:sp>
        <p:nvSpPr>
          <p:cNvPr id="105" name="Titel 1">
            <a:extLst>
              <a:ext uri="{FF2B5EF4-FFF2-40B4-BE49-F238E27FC236}">
                <a16:creationId xmlns:a16="http://schemas.microsoft.com/office/drawing/2014/main" id="{5E72A545-D18A-4387-8A1E-ABB5A2C2A05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20163" y="2913731"/>
            <a:ext cx="11153677" cy="1030539"/>
          </a:xfrm>
        </p:spPr>
        <p:txBody>
          <a:bodyPr vert="horz" wrap="square" tIns="0" rIns="0" anchor="ctr" anchorCtr="0">
            <a:noAutofit/>
          </a:bodyPr>
          <a:lstStyle>
            <a:lvl1pPr algn="l">
              <a:lnSpc>
                <a:spcPct val="110000"/>
              </a:lnSpc>
              <a:defRPr sz="540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&lt;Thema&gt;</a:t>
            </a:r>
          </a:p>
        </p:txBody>
      </p:sp>
      <p:sp>
        <p:nvSpPr>
          <p:cNvPr id="106" name="Textplatzhalter 7">
            <a:extLst>
              <a:ext uri="{FF2B5EF4-FFF2-40B4-BE49-F238E27FC236}">
                <a16:creationId xmlns:a16="http://schemas.microsoft.com/office/drawing/2014/main" id="{80310260-E29F-4335-A559-D4992C1B949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20163" y="5005511"/>
            <a:ext cx="11153677" cy="437236"/>
          </a:xfrm>
        </p:spPr>
        <p:txBody>
          <a:bodyPr wrap="square">
            <a:spAutoFit/>
          </a:bodyPr>
          <a:lstStyle>
            <a:lvl1pPr>
              <a:defRPr sz="2800"/>
            </a:lvl1pPr>
          </a:lstStyle>
          <a:p>
            <a:pPr lvl="0"/>
            <a:r>
              <a:rPr lang="de-DE" noProof="0" dirty="0"/>
              <a:t>&lt;Titel der Veranstaltung&gt; | &lt;Semester&gt;</a:t>
            </a:r>
          </a:p>
        </p:txBody>
      </p:sp>
      <p:sp>
        <p:nvSpPr>
          <p:cNvPr id="41" name="Textplatzhalter 9">
            <a:extLst>
              <a:ext uri="{FF2B5EF4-FFF2-40B4-BE49-F238E27FC236}">
                <a16:creationId xmlns:a16="http://schemas.microsoft.com/office/drawing/2014/main" id="{1BD7CCEE-7BB6-421E-A2F7-578C84A24F8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20163" y="6200775"/>
            <a:ext cx="11153677" cy="431800"/>
          </a:xfrm>
        </p:spPr>
        <p:txBody>
          <a:bodyPr rIns="0" anchor="ctr"/>
          <a:lstStyle>
            <a:lvl1pPr>
              <a:defRPr/>
            </a:lvl1pPr>
          </a:lstStyle>
          <a:p>
            <a:pPr lvl="0"/>
            <a:r>
              <a:rPr lang="de-DE" dirty="0"/>
              <a:t>Lehrstuhl für Digital Industrial Service Systems | &lt;Dozent&gt;</a:t>
            </a:r>
          </a:p>
        </p:txBody>
      </p:sp>
    </p:spTree>
    <p:extLst>
      <p:ext uri="{BB962C8B-B14F-4D97-AF65-F5344CB8AC3E}">
        <p14:creationId xmlns:p14="http://schemas.microsoft.com/office/powerpoint/2010/main" val="249852622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 | weiß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08416C23-A1C9-4A3C-A02C-B83D990600B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025509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10" imgH="312" progId="TCLayout.ActiveDocument.1">
                  <p:embed/>
                </p:oleObj>
              </mc:Choice>
              <mc:Fallback>
                <p:oleObj name="think-cell Folie" r:id="rId3" imgW="310" imgH="312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08416C23-A1C9-4A3C-A02C-B83D990600B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5E0522E-4B59-4195-AD23-1DB4381AB6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2FFFAF-2C94-4296-A519-F2AFC9B633BB}" type="datetime4">
              <a:rPr lang="de-DE" smtClean="0"/>
              <a:t>19. Dezember 2022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0F6FD0B-B0A5-4052-BAB6-95BD027E8C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15937" y="6634666"/>
            <a:ext cx="9574509" cy="123111"/>
          </a:xfrm>
        </p:spPr>
        <p:txBody>
          <a:bodyPr/>
          <a:lstStyle/>
          <a:p>
            <a:r>
              <a:rPr lang="de-DE"/>
              <a:t>… | Lehrstuhl für Digital Industrial Service Systems | &lt;Name des Dozenten&gt;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0385CA6-0215-4C6D-9658-F37EA26CE8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8531AA6C-45F6-4DAB-84E5-02BCC876C604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18319" y="6221277"/>
            <a:ext cx="11157742" cy="132149"/>
          </a:xfrm>
        </p:spPr>
        <p:txBody>
          <a:bodyPr rIns="0">
            <a:noAutofit/>
          </a:bodyPr>
          <a:lstStyle>
            <a:lvl1pPr algn="r">
              <a:lnSpc>
                <a:spcPct val="100000"/>
              </a:lnSpc>
              <a:spcAft>
                <a:spcPts val="0"/>
              </a:spcAft>
              <a:defRPr sz="8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lvl="0"/>
            <a:r>
              <a:rPr lang="de-DE" dirty="0"/>
              <a:t>Quelle:</a:t>
            </a:r>
          </a:p>
        </p:txBody>
      </p:sp>
      <p:sp>
        <p:nvSpPr>
          <p:cNvPr id="18" name="Titelplatzhalter 1">
            <a:extLst>
              <a:ext uri="{FF2B5EF4-FFF2-40B4-BE49-F238E27FC236}">
                <a16:creationId xmlns:a16="http://schemas.microsoft.com/office/drawing/2014/main" id="{8D91CC63-EC57-4924-A724-1CDFF2666E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8318" y="301183"/>
            <a:ext cx="9574509" cy="666000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rmAutofit/>
          </a:bodyPr>
          <a:lstStyle>
            <a:lvl1pPr>
              <a:defRPr>
                <a:solidFill>
                  <a:srgbClr val="041E42"/>
                </a:solidFill>
              </a:defRPr>
            </a:lvl1pPr>
          </a:lstStyle>
          <a:p>
            <a:r>
              <a:rPr lang="de-DE" noProof="0" dirty="0"/>
              <a:t>[Action-Title]: Kernaussage des Bilds ausdrücken, </a:t>
            </a:r>
            <a:br>
              <a:rPr lang="de-DE" noProof="0" dirty="0"/>
            </a:br>
            <a:r>
              <a:rPr lang="de-DE" noProof="0" dirty="0"/>
              <a:t>maximal zwei Zeilen, „sprechende Titel“</a:t>
            </a:r>
            <a:endParaRPr lang="de-DE" dirty="0"/>
          </a:p>
        </p:txBody>
      </p:sp>
      <p:sp>
        <p:nvSpPr>
          <p:cNvPr id="19" name="Textplatzhalter 6">
            <a:extLst>
              <a:ext uri="{FF2B5EF4-FFF2-40B4-BE49-F238E27FC236}">
                <a16:creationId xmlns:a16="http://schemas.microsoft.com/office/drawing/2014/main" id="{E76EDA7A-C3DC-4A17-8264-EF17021BD3D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8318" y="987403"/>
            <a:ext cx="9574510" cy="281103"/>
          </a:xfrm>
        </p:spPr>
        <p:txBody>
          <a:bodyPr anchor="ctr">
            <a:normAutofit/>
          </a:bodyPr>
          <a:lstStyle>
            <a:lvl1pPr>
              <a:defRPr sz="1800">
                <a:solidFill>
                  <a:srgbClr val="041E4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3"/>
              </a:buClr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noProof="0" dirty="0"/>
              <a:t>[</a:t>
            </a:r>
            <a:r>
              <a:rPr lang="de-DE" noProof="0" dirty="0" err="1"/>
              <a:t>Subtitle</a:t>
            </a:r>
            <a:r>
              <a:rPr lang="de-DE" noProof="0" dirty="0"/>
              <a:t>]: Zusammenfassung in Stichwörtern, keine Sätze</a:t>
            </a:r>
          </a:p>
        </p:txBody>
      </p:sp>
    </p:spTree>
    <p:extLst>
      <p:ext uri="{BB962C8B-B14F-4D97-AF65-F5344CB8AC3E}">
        <p14:creationId xmlns:p14="http://schemas.microsoft.com/office/powerpoint/2010/main" val="29340909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5E0522E-4B59-4195-AD23-1DB4381AB6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78214D8-8053-4DB4-874E-70E28250261A}" type="datetime4">
              <a:rPr lang="de-DE" smtClean="0"/>
              <a:t>19. Dezember 2022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0F6FD0B-B0A5-4052-BAB6-95BD027E8C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15937" y="6634666"/>
            <a:ext cx="9574509" cy="123111"/>
          </a:xfrm>
        </p:spPr>
        <p:txBody>
          <a:bodyPr/>
          <a:lstStyle/>
          <a:p>
            <a:r>
              <a:rPr lang="de-DE"/>
              <a:t>… | Lehrstuhl für Digital Industrial Service Systems | &lt;Name des Dozenten&gt;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0385CA6-0215-4C6D-9658-F37EA26CE8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1" name="Textplatzhalter 9">
            <a:extLst>
              <a:ext uri="{FF2B5EF4-FFF2-40B4-BE49-F238E27FC236}">
                <a16:creationId xmlns:a16="http://schemas.microsoft.com/office/drawing/2014/main" id="{391E3CF3-4749-4988-84A7-41187275F95B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518319" y="1631157"/>
            <a:ext cx="11157742" cy="4569619"/>
          </a:xfrm>
          <a:solidFill>
            <a:schemeClr val="accent4"/>
          </a:solidFill>
        </p:spPr>
        <p:txBody>
          <a:bodyPr wrap="square" lIns="540000" tIns="540000" rIns="540000" bIns="540000" anchor="ctr">
            <a:noAutofit/>
          </a:bodyPr>
          <a:lstStyle>
            <a:lvl1pPr algn="ctr">
              <a:defRPr sz="2000" i="1">
                <a:solidFill>
                  <a:srgbClr val="041E42"/>
                </a:solidFill>
              </a:defRPr>
            </a:lvl1pPr>
          </a:lstStyle>
          <a:p>
            <a:pPr lvl="0"/>
            <a:r>
              <a:rPr lang="de-DE" dirty="0"/>
              <a:t>„Mastertextformat bearbeiten“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8531AA6C-45F6-4DAB-84E5-02BCC876C604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18319" y="6221277"/>
            <a:ext cx="11157742" cy="132149"/>
          </a:xfrm>
        </p:spPr>
        <p:txBody>
          <a:bodyPr rIns="0">
            <a:noAutofit/>
          </a:bodyPr>
          <a:lstStyle>
            <a:lvl1pPr algn="r">
              <a:lnSpc>
                <a:spcPct val="100000"/>
              </a:lnSpc>
              <a:spcAft>
                <a:spcPts val="0"/>
              </a:spcAft>
              <a:defRPr sz="8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lvl="0"/>
            <a:r>
              <a:rPr lang="de-DE" dirty="0"/>
              <a:t>Quelle:</a:t>
            </a:r>
          </a:p>
        </p:txBody>
      </p:sp>
      <p:sp>
        <p:nvSpPr>
          <p:cNvPr id="18" name="Titelplatzhalter 1">
            <a:extLst>
              <a:ext uri="{FF2B5EF4-FFF2-40B4-BE49-F238E27FC236}">
                <a16:creationId xmlns:a16="http://schemas.microsoft.com/office/drawing/2014/main" id="{8D91CC63-EC57-4924-A724-1CDFF2666E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8318" y="301183"/>
            <a:ext cx="9574509" cy="666000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rmAutofit/>
          </a:bodyPr>
          <a:lstStyle/>
          <a:p>
            <a:r>
              <a:rPr lang="de-DE" noProof="0" dirty="0"/>
              <a:t>[Action-Title]: Kernaussage des Bilds ausdrücken, </a:t>
            </a:r>
            <a:br>
              <a:rPr lang="de-DE" noProof="0" dirty="0"/>
            </a:br>
            <a:r>
              <a:rPr lang="de-DE" noProof="0" dirty="0"/>
              <a:t>maximal zwei Zeilen, „sprechende Titel“</a:t>
            </a:r>
            <a:endParaRPr lang="de-DE" dirty="0"/>
          </a:p>
        </p:txBody>
      </p:sp>
      <p:sp>
        <p:nvSpPr>
          <p:cNvPr id="19" name="Textplatzhalter 6">
            <a:extLst>
              <a:ext uri="{FF2B5EF4-FFF2-40B4-BE49-F238E27FC236}">
                <a16:creationId xmlns:a16="http://schemas.microsoft.com/office/drawing/2014/main" id="{E76EDA7A-C3DC-4A17-8264-EF17021BD3D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8318" y="987403"/>
            <a:ext cx="9574510" cy="281103"/>
          </a:xfrm>
        </p:spPr>
        <p:txBody>
          <a:bodyPr anchor="ctr">
            <a:normAutofit/>
          </a:bodyPr>
          <a:lstStyle>
            <a:lvl1pPr>
              <a:defRPr sz="1800">
                <a:solidFill>
                  <a:srgbClr val="041E4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3"/>
              </a:buClr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noProof="0" dirty="0"/>
              <a:t>[</a:t>
            </a:r>
            <a:r>
              <a:rPr lang="de-DE" noProof="0" dirty="0" err="1"/>
              <a:t>Subtitle</a:t>
            </a:r>
            <a:r>
              <a:rPr lang="de-DE" noProof="0" dirty="0"/>
              <a:t>]: Zusammenfassung in Stichwörtern, keine Sätze</a:t>
            </a:r>
          </a:p>
        </p:txBody>
      </p:sp>
    </p:spTree>
    <p:extLst>
      <p:ext uri="{BB962C8B-B14F-4D97-AF65-F5344CB8AC3E}">
        <p14:creationId xmlns:p14="http://schemas.microsoft.com/office/powerpoint/2010/main" val="137641148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">
    <p:bg bwMode="black"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Textplatzhalter 167">
            <a:extLst>
              <a:ext uri="{FF2B5EF4-FFF2-40B4-BE49-F238E27FC236}">
                <a16:creationId xmlns:a16="http://schemas.microsoft.com/office/drawing/2014/main" id="{68AB2348-B91F-4E68-BDE1-60ECCE02B49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0" y="1628775"/>
            <a:ext cx="12192000" cy="5229225"/>
          </a:xfrm>
          <a:gradFill>
            <a:gsLst>
              <a:gs pos="50000">
                <a:schemeClr val="accent3">
                  <a:alpha val="50000"/>
                </a:schemeClr>
              </a:gs>
              <a:gs pos="5000">
                <a:schemeClr val="accent3"/>
              </a:gs>
              <a:gs pos="100000">
                <a:schemeClr val="accent3">
                  <a:alpha val="20000"/>
                </a:schemeClr>
              </a:gs>
            </a:gsLst>
            <a:lin ang="5400000" scaled="1"/>
          </a:gradFill>
        </p:spPr>
        <p:txBody>
          <a:bodyPr vert="horz" wrap="square" lIns="540000" tIns="1188000" rIns="0" bIns="0" rtlCol="0" anchor="t" anchorCtr="0">
            <a:noAutofit/>
          </a:bodyPr>
          <a:lstStyle>
            <a:lvl1pPr>
              <a:defRPr lang="de-DE" sz="4000" b="1" dirty="0">
                <a:latin typeface="+mj-lt"/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de-DE" dirty="0"/>
              <a:t> </a:t>
            </a:r>
          </a:p>
        </p:txBody>
      </p:sp>
      <p:sp>
        <p:nvSpPr>
          <p:cNvPr id="147" name="Bildplatzhalter 60">
            <a:extLst>
              <a:ext uri="{FF2B5EF4-FFF2-40B4-BE49-F238E27FC236}">
                <a16:creationId xmlns:a16="http://schemas.microsoft.com/office/drawing/2014/main" id="{A10C7922-6C2D-4F6D-A7A7-86380590F10C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1628775"/>
            <a:ext cx="12192000" cy="5229226"/>
          </a:xfrm>
          <a:solidFill>
            <a:schemeClr val="tx1">
              <a:lumMod val="95000"/>
            </a:schemeClr>
          </a:solidFill>
        </p:spPr>
        <p:txBody>
          <a:bodyPr/>
          <a:lstStyle/>
          <a:p>
            <a:r>
              <a:rPr lang="de-DE" dirty="0"/>
              <a:t> </a:t>
            </a:r>
          </a:p>
        </p:txBody>
      </p:sp>
      <p:sp>
        <p:nvSpPr>
          <p:cNvPr id="114" name="Textplatzhalter 64">
            <a:extLst>
              <a:ext uri="{FF2B5EF4-FFF2-40B4-BE49-F238E27FC236}">
                <a16:creationId xmlns:a16="http://schemas.microsoft.com/office/drawing/2014/main" id="{94E4DAD8-28C4-496D-803F-AF50BFF89A8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8317" y="2647985"/>
            <a:ext cx="11157745" cy="1562031"/>
          </a:xfrm>
        </p:spPr>
        <p:txBody>
          <a:bodyPr vert="horz" wrap="square" lIns="0" tIns="0" rIns="360000" bIns="0" rtlCol="0" anchor="ctr" anchorCtr="0">
            <a:spAutoFit/>
          </a:bodyPr>
          <a:lstStyle>
            <a:lvl1pPr>
              <a:spcAft>
                <a:spcPts val="0"/>
              </a:spcAft>
              <a:defRPr lang="de-DE" sz="4800" b="1" dirty="0" smtClean="0">
                <a:latin typeface="+mj-lt"/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de-DE" dirty="0"/>
              <a:t>Vielen Dank</a:t>
            </a:r>
            <a:br>
              <a:rPr lang="de-DE" dirty="0"/>
            </a:br>
            <a:r>
              <a:rPr lang="de-DE" dirty="0"/>
              <a:t>für Ihre Aufmerksamkeit!</a:t>
            </a:r>
          </a:p>
        </p:txBody>
      </p:sp>
      <p:sp>
        <p:nvSpPr>
          <p:cNvPr id="58" name="Freihandform: Form 57">
            <a:extLst>
              <a:ext uri="{FF2B5EF4-FFF2-40B4-BE49-F238E27FC236}">
                <a16:creationId xmlns:a16="http://schemas.microsoft.com/office/drawing/2014/main" id="{1A7F7BEE-9A4B-44B2-960F-97720F4BC3DA}"/>
              </a:ext>
            </a:extLst>
          </p:cNvPr>
          <p:cNvSpPr/>
          <p:nvPr userDrawn="1"/>
        </p:nvSpPr>
        <p:spPr>
          <a:xfrm>
            <a:off x="10056938" y="300703"/>
            <a:ext cx="1619125" cy="618155"/>
          </a:xfrm>
          <a:custGeom>
            <a:avLst/>
            <a:gdLst>
              <a:gd name="connsiteX0" fmla="*/ 0 w 1456912"/>
              <a:gd name="connsiteY0" fmla="*/ 51854 h 556225"/>
              <a:gd name="connsiteX1" fmla="*/ 28188 w 1456912"/>
              <a:gd name="connsiteY1" fmla="*/ 23666 h 556225"/>
              <a:gd name="connsiteX2" fmla="*/ 28188 w 1456912"/>
              <a:gd name="connsiteY2" fmla="*/ 535557 h 556225"/>
              <a:gd name="connsiteX3" fmla="*/ 0 w 1456912"/>
              <a:gd name="connsiteY3" fmla="*/ 535557 h 556225"/>
              <a:gd name="connsiteX4" fmla="*/ 0 w 1456912"/>
              <a:gd name="connsiteY4" fmla="*/ 51854 h 556225"/>
              <a:gd name="connsiteX5" fmla="*/ 84564 w 1456912"/>
              <a:gd name="connsiteY5" fmla="*/ 28188 h 556225"/>
              <a:gd name="connsiteX6" fmla="*/ 422811 w 1456912"/>
              <a:gd name="connsiteY6" fmla="*/ 28188 h 556225"/>
              <a:gd name="connsiteX7" fmla="*/ 422811 w 1456912"/>
              <a:gd name="connsiteY7" fmla="*/ 0 h 556225"/>
              <a:gd name="connsiteX8" fmla="*/ 56376 w 1456912"/>
              <a:gd name="connsiteY8" fmla="*/ 0 h 556225"/>
              <a:gd name="connsiteX9" fmla="*/ 56376 w 1456912"/>
              <a:gd name="connsiteY9" fmla="*/ 338244 h 556225"/>
              <a:gd name="connsiteX10" fmla="*/ 367711 w 1456912"/>
              <a:gd name="connsiteY10" fmla="*/ 338244 h 556225"/>
              <a:gd name="connsiteX11" fmla="*/ 367711 w 1456912"/>
              <a:gd name="connsiteY11" fmla="*/ 310062 h 556225"/>
              <a:gd name="connsiteX12" fmla="*/ 84564 w 1456912"/>
              <a:gd name="connsiteY12" fmla="*/ 310062 h 556225"/>
              <a:gd name="connsiteX13" fmla="*/ 84564 w 1456912"/>
              <a:gd name="connsiteY13" fmla="*/ 28188 h 556225"/>
              <a:gd name="connsiteX14" fmla="*/ 410152 w 1456912"/>
              <a:gd name="connsiteY14" fmla="*/ 253686 h 556225"/>
              <a:gd name="connsiteX15" fmla="*/ 140937 w 1456912"/>
              <a:gd name="connsiteY15" fmla="*/ 253686 h 556225"/>
              <a:gd name="connsiteX16" fmla="*/ 140937 w 1456912"/>
              <a:gd name="connsiteY16" fmla="*/ 140940 h 556225"/>
              <a:gd name="connsiteX17" fmla="*/ 371171 w 1456912"/>
              <a:gd name="connsiteY17" fmla="*/ 140940 h 556225"/>
              <a:gd name="connsiteX18" fmla="*/ 399359 w 1456912"/>
              <a:gd name="connsiteY18" fmla="*/ 112752 h 556225"/>
              <a:gd name="connsiteX19" fmla="*/ 140937 w 1456912"/>
              <a:gd name="connsiteY19" fmla="*/ 112752 h 556225"/>
              <a:gd name="connsiteX20" fmla="*/ 140937 w 1456912"/>
              <a:gd name="connsiteY20" fmla="*/ 84564 h 556225"/>
              <a:gd name="connsiteX21" fmla="*/ 422811 w 1456912"/>
              <a:gd name="connsiteY21" fmla="*/ 84564 h 556225"/>
              <a:gd name="connsiteX22" fmla="*/ 422811 w 1456912"/>
              <a:gd name="connsiteY22" fmla="*/ 56376 h 556225"/>
              <a:gd name="connsiteX23" fmla="*/ 112749 w 1456912"/>
              <a:gd name="connsiteY23" fmla="*/ 56376 h 556225"/>
              <a:gd name="connsiteX24" fmla="*/ 112749 w 1456912"/>
              <a:gd name="connsiteY24" fmla="*/ 281874 h 556225"/>
              <a:gd name="connsiteX25" fmla="*/ 382334 w 1456912"/>
              <a:gd name="connsiteY25" fmla="*/ 281874 h 556225"/>
              <a:gd name="connsiteX26" fmla="*/ 410152 w 1456912"/>
              <a:gd name="connsiteY26" fmla="*/ 253686 h 556225"/>
              <a:gd name="connsiteX27" fmla="*/ 56376 w 1456912"/>
              <a:gd name="connsiteY27" fmla="*/ 535557 h 556225"/>
              <a:gd name="connsiteX28" fmla="*/ 84564 w 1456912"/>
              <a:gd name="connsiteY28" fmla="*/ 535557 h 556225"/>
              <a:gd name="connsiteX29" fmla="*/ 84564 w 1456912"/>
              <a:gd name="connsiteY29" fmla="*/ 394620 h 556225"/>
              <a:gd name="connsiteX30" fmla="*/ 112752 w 1456912"/>
              <a:gd name="connsiteY30" fmla="*/ 394620 h 556225"/>
              <a:gd name="connsiteX31" fmla="*/ 112752 w 1456912"/>
              <a:gd name="connsiteY31" fmla="*/ 511890 h 556225"/>
              <a:gd name="connsiteX32" fmla="*/ 140940 w 1456912"/>
              <a:gd name="connsiteY32" fmla="*/ 483705 h 556225"/>
              <a:gd name="connsiteX33" fmla="*/ 140940 w 1456912"/>
              <a:gd name="connsiteY33" fmla="*/ 394620 h 556225"/>
              <a:gd name="connsiteX34" fmla="*/ 367714 w 1456912"/>
              <a:gd name="connsiteY34" fmla="*/ 394620 h 556225"/>
              <a:gd name="connsiteX35" fmla="*/ 367714 w 1456912"/>
              <a:gd name="connsiteY35" fmla="*/ 366435 h 556225"/>
              <a:gd name="connsiteX36" fmla="*/ 56376 w 1456912"/>
              <a:gd name="connsiteY36" fmla="*/ 366435 h 556225"/>
              <a:gd name="connsiteX37" fmla="*/ 56376 w 1456912"/>
              <a:gd name="connsiteY37" fmla="*/ 535557 h 556225"/>
              <a:gd name="connsiteX38" fmla="*/ 1428724 w 1456912"/>
              <a:gd name="connsiteY38" fmla="*/ 0 h 556225"/>
              <a:gd name="connsiteX39" fmla="*/ 1428724 w 1456912"/>
              <a:gd name="connsiteY39" fmla="*/ 324156 h 556225"/>
              <a:gd name="connsiteX40" fmla="*/ 1316539 w 1456912"/>
              <a:gd name="connsiteY40" fmla="*/ 514089 h 556225"/>
              <a:gd name="connsiteX41" fmla="*/ 1315903 w 1456912"/>
              <a:gd name="connsiteY41" fmla="*/ 513258 h 556225"/>
              <a:gd name="connsiteX42" fmla="*/ 1400536 w 1456912"/>
              <a:gd name="connsiteY42" fmla="*/ 351869 h 556225"/>
              <a:gd name="connsiteX43" fmla="*/ 1400536 w 1456912"/>
              <a:gd name="connsiteY43" fmla="*/ 3 h 556225"/>
              <a:gd name="connsiteX44" fmla="*/ 1372348 w 1456912"/>
              <a:gd name="connsiteY44" fmla="*/ 3 h 556225"/>
              <a:gd name="connsiteX45" fmla="*/ 1372348 w 1456912"/>
              <a:gd name="connsiteY45" fmla="*/ 351400 h 556225"/>
              <a:gd name="connsiteX46" fmla="*/ 1189132 w 1456912"/>
              <a:gd name="connsiteY46" fmla="*/ 528510 h 556225"/>
              <a:gd name="connsiteX47" fmla="*/ 1005916 w 1456912"/>
              <a:gd name="connsiteY47" fmla="*/ 351400 h 556225"/>
              <a:gd name="connsiteX48" fmla="*/ 1005916 w 1456912"/>
              <a:gd name="connsiteY48" fmla="*/ 23666 h 556225"/>
              <a:gd name="connsiteX49" fmla="*/ 977728 w 1456912"/>
              <a:gd name="connsiteY49" fmla="*/ 51854 h 556225"/>
              <a:gd name="connsiteX50" fmla="*/ 977728 w 1456912"/>
              <a:gd name="connsiteY50" fmla="*/ 351869 h 556225"/>
              <a:gd name="connsiteX51" fmla="*/ 1189132 w 1456912"/>
              <a:gd name="connsiteY51" fmla="*/ 556226 h 556225"/>
              <a:gd name="connsiteX52" fmla="*/ 1217320 w 1456912"/>
              <a:gd name="connsiteY52" fmla="*/ 556226 h 556225"/>
              <a:gd name="connsiteX53" fmla="*/ 1456912 w 1456912"/>
              <a:gd name="connsiteY53" fmla="*/ 324566 h 556225"/>
              <a:gd name="connsiteX54" fmla="*/ 1456912 w 1456912"/>
              <a:gd name="connsiteY54" fmla="*/ 0 h 556225"/>
              <a:gd name="connsiteX55" fmla="*/ 1428724 w 1456912"/>
              <a:gd name="connsiteY55" fmla="*/ 0 h 556225"/>
              <a:gd name="connsiteX56" fmla="*/ 1189132 w 1456912"/>
              <a:gd name="connsiteY56" fmla="*/ 500322 h 556225"/>
              <a:gd name="connsiteX57" fmla="*/ 1344160 w 1456912"/>
              <a:gd name="connsiteY57" fmla="*/ 351400 h 556225"/>
              <a:gd name="connsiteX58" fmla="*/ 1344160 w 1456912"/>
              <a:gd name="connsiteY58" fmla="*/ 351400 h 556225"/>
              <a:gd name="connsiteX59" fmla="*/ 1344160 w 1456912"/>
              <a:gd name="connsiteY59" fmla="*/ 23666 h 556225"/>
              <a:gd name="connsiteX60" fmla="*/ 1315972 w 1456912"/>
              <a:gd name="connsiteY60" fmla="*/ 51854 h 556225"/>
              <a:gd name="connsiteX61" fmla="*/ 1315972 w 1456912"/>
              <a:gd name="connsiteY61" fmla="*/ 324153 h 556225"/>
              <a:gd name="connsiteX62" fmla="*/ 1217317 w 1456912"/>
              <a:gd name="connsiteY62" fmla="*/ 415761 h 556225"/>
              <a:gd name="connsiteX63" fmla="*/ 1118662 w 1456912"/>
              <a:gd name="connsiteY63" fmla="*/ 324153 h 556225"/>
              <a:gd name="connsiteX64" fmla="*/ 1118662 w 1456912"/>
              <a:gd name="connsiteY64" fmla="*/ 3 h 556225"/>
              <a:gd name="connsiteX65" fmla="*/ 1090474 w 1456912"/>
              <a:gd name="connsiteY65" fmla="*/ 3 h 556225"/>
              <a:gd name="connsiteX66" fmla="*/ 1090474 w 1456912"/>
              <a:gd name="connsiteY66" fmla="*/ 324156 h 556225"/>
              <a:gd name="connsiteX67" fmla="*/ 1217317 w 1456912"/>
              <a:gd name="connsiteY67" fmla="*/ 443951 h 556225"/>
              <a:gd name="connsiteX68" fmla="*/ 1304349 w 1456912"/>
              <a:gd name="connsiteY68" fmla="*/ 404889 h 556225"/>
              <a:gd name="connsiteX69" fmla="*/ 1304982 w 1456912"/>
              <a:gd name="connsiteY69" fmla="*/ 405720 h 556225"/>
              <a:gd name="connsiteX70" fmla="*/ 1189129 w 1456912"/>
              <a:gd name="connsiteY70" fmla="*/ 472139 h 556225"/>
              <a:gd name="connsiteX71" fmla="*/ 1062303 w 1456912"/>
              <a:gd name="connsiteY71" fmla="*/ 352344 h 556225"/>
              <a:gd name="connsiteX72" fmla="*/ 1062286 w 1456912"/>
              <a:gd name="connsiteY72" fmla="*/ 352344 h 556225"/>
              <a:gd name="connsiteX73" fmla="*/ 1062286 w 1456912"/>
              <a:gd name="connsiteY73" fmla="*/ 3 h 556225"/>
              <a:gd name="connsiteX74" fmla="*/ 1034098 w 1456912"/>
              <a:gd name="connsiteY74" fmla="*/ 3 h 556225"/>
              <a:gd name="connsiteX75" fmla="*/ 1034098 w 1456912"/>
              <a:gd name="connsiteY75" fmla="*/ 352341 h 556225"/>
              <a:gd name="connsiteX76" fmla="*/ 1034113 w 1456912"/>
              <a:gd name="connsiteY76" fmla="*/ 352341 h 556225"/>
              <a:gd name="connsiteX77" fmla="*/ 1189132 w 1456912"/>
              <a:gd name="connsiteY77" fmla="*/ 500322 h 556225"/>
              <a:gd name="connsiteX78" fmla="*/ 562774 w 1456912"/>
              <a:gd name="connsiteY78" fmla="*/ 366435 h 556225"/>
              <a:gd name="connsiteX79" fmla="*/ 491494 w 1456912"/>
              <a:gd name="connsiteY79" fmla="*/ 535557 h 556225"/>
              <a:gd name="connsiteX80" fmla="*/ 519684 w 1456912"/>
              <a:gd name="connsiteY80" fmla="*/ 535554 h 556225"/>
              <a:gd name="connsiteX81" fmla="*/ 519682 w 1456912"/>
              <a:gd name="connsiteY81" fmla="*/ 535557 h 556225"/>
              <a:gd name="connsiteX82" fmla="*/ 519684 w 1456912"/>
              <a:gd name="connsiteY82" fmla="*/ 535557 h 556225"/>
              <a:gd name="connsiteX83" fmla="*/ 555322 w 1456912"/>
              <a:gd name="connsiteY83" fmla="*/ 450996 h 556225"/>
              <a:gd name="connsiteX84" fmla="*/ 794138 w 1456912"/>
              <a:gd name="connsiteY84" fmla="*/ 450996 h 556225"/>
              <a:gd name="connsiteX85" fmla="*/ 829744 w 1456912"/>
              <a:gd name="connsiteY85" fmla="*/ 535557 h 556225"/>
              <a:gd name="connsiteX86" fmla="*/ 857932 w 1456912"/>
              <a:gd name="connsiteY86" fmla="*/ 535557 h 556225"/>
              <a:gd name="connsiteX87" fmla="*/ 810457 w 1456912"/>
              <a:gd name="connsiteY87" fmla="*/ 422808 h 556225"/>
              <a:gd name="connsiteX88" fmla="*/ 567200 w 1456912"/>
              <a:gd name="connsiteY88" fmla="*/ 422808 h 556225"/>
              <a:gd name="connsiteX89" fmla="*/ 579078 w 1456912"/>
              <a:gd name="connsiteY89" fmla="*/ 394620 h 556225"/>
              <a:gd name="connsiteX90" fmla="*/ 826776 w 1456912"/>
              <a:gd name="connsiteY90" fmla="*/ 394620 h 556225"/>
              <a:gd name="connsiteX91" fmla="*/ 886120 w 1456912"/>
              <a:gd name="connsiteY91" fmla="*/ 535557 h 556225"/>
              <a:gd name="connsiteX92" fmla="*/ 914308 w 1456912"/>
              <a:gd name="connsiteY92" fmla="*/ 535557 h 556225"/>
              <a:gd name="connsiteX93" fmla="*/ 843097 w 1456912"/>
              <a:gd name="connsiteY93" fmla="*/ 366435 h 556225"/>
              <a:gd name="connsiteX94" fmla="*/ 562774 w 1456912"/>
              <a:gd name="connsiteY94" fmla="*/ 366435 h 556225"/>
              <a:gd name="connsiteX95" fmla="*/ 604248 w 1456912"/>
              <a:gd name="connsiteY95" fmla="*/ 0 h 556225"/>
              <a:gd name="connsiteX96" fmla="*/ 397091 w 1456912"/>
              <a:gd name="connsiteY96" fmla="*/ 491374 h 556225"/>
              <a:gd name="connsiteX97" fmla="*/ 415032 w 1456912"/>
              <a:gd name="connsiteY97" fmla="*/ 515732 h 556225"/>
              <a:gd name="connsiteX98" fmla="*/ 632437 w 1456912"/>
              <a:gd name="connsiteY98" fmla="*/ 0 h 556225"/>
              <a:gd name="connsiteX99" fmla="*/ 604248 w 1456912"/>
              <a:gd name="connsiteY99" fmla="*/ 0 h 556225"/>
              <a:gd name="connsiteX100" fmla="*/ 716998 w 1456912"/>
              <a:gd name="connsiteY100" fmla="*/ 3 h 556225"/>
              <a:gd name="connsiteX101" fmla="*/ 934130 w 1456912"/>
              <a:gd name="connsiteY101" fmla="*/ 515735 h 556225"/>
              <a:gd name="connsiteX102" fmla="*/ 952028 w 1456912"/>
              <a:gd name="connsiteY102" fmla="*/ 491377 h 556225"/>
              <a:gd name="connsiteX103" fmla="*/ 745186 w 1456912"/>
              <a:gd name="connsiteY103" fmla="*/ 3 h 556225"/>
              <a:gd name="connsiteX104" fmla="*/ 716998 w 1456912"/>
              <a:gd name="connsiteY104" fmla="*/ 3 h 556225"/>
              <a:gd name="connsiteX105" fmla="*/ 546409 w 1456912"/>
              <a:gd name="connsiteY105" fmla="*/ 338247 h 556225"/>
              <a:gd name="connsiteX106" fmla="*/ 463042 w 1456912"/>
              <a:gd name="connsiteY106" fmla="*/ 535557 h 556225"/>
              <a:gd name="connsiteX107" fmla="*/ 434854 w 1456912"/>
              <a:gd name="connsiteY107" fmla="*/ 535557 h 556225"/>
              <a:gd name="connsiteX108" fmla="*/ 646528 w 1456912"/>
              <a:gd name="connsiteY108" fmla="*/ 33467 h 556225"/>
              <a:gd name="connsiteX109" fmla="*/ 762988 w 1456912"/>
              <a:gd name="connsiteY109" fmla="*/ 310059 h 556225"/>
              <a:gd name="connsiteX110" fmla="*/ 791176 w 1456912"/>
              <a:gd name="connsiteY110" fmla="*/ 310059 h 556225"/>
              <a:gd name="connsiteX111" fmla="*/ 660624 w 1456912"/>
              <a:gd name="connsiteY111" fmla="*/ 3 h 556225"/>
              <a:gd name="connsiteX112" fmla="*/ 688812 w 1456912"/>
              <a:gd name="connsiteY112" fmla="*/ 3 h 556225"/>
              <a:gd name="connsiteX113" fmla="*/ 831231 w 1456912"/>
              <a:gd name="connsiteY113" fmla="*/ 338247 h 556225"/>
              <a:gd name="connsiteX114" fmla="*/ 546409 w 1456912"/>
              <a:gd name="connsiteY114" fmla="*/ 338247 h 556225"/>
              <a:gd name="connsiteX115" fmla="*/ 674788 w 1456912"/>
              <a:gd name="connsiteY115" fmla="*/ 167531 h 556225"/>
              <a:gd name="connsiteX116" fmla="*/ 614721 w 1456912"/>
              <a:gd name="connsiteY116" fmla="*/ 310062 h 556225"/>
              <a:gd name="connsiteX117" fmla="*/ 734800 w 1456912"/>
              <a:gd name="connsiteY117" fmla="*/ 310062 h 556225"/>
              <a:gd name="connsiteX118" fmla="*/ 674788 w 1456912"/>
              <a:gd name="connsiteY118" fmla="*/ 167531 h 556225"/>
              <a:gd name="connsiteX119" fmla="*/ 558275 w 1456912"/>
              <a:gd name="connsiteY119" fmla="*/ 310062 h 556225"/>
              <a:gd name="connsiteX120" fmla="*/ 586535 w 1456912"/>
              <a:gd name="connsiteY120" fmla="*/ 310062 h 556225"/>
              <a:gd name="connsiteX121" fmla="*/ 660703 w 1456912"/>
              <a:gd name="connsiteY121" fmla="*/ 134072 h 556225"/>
              <a:gd name="connsiteX122" fmla="*/ 646588 w 1456912"/>
              <a:gd name="connsiteY122" fmla="*/ 100553 h 556225"/>
              <a:gd name="connsiteX123" fmla="*/ 558275 w 1456912"/>
              <a:gd name="connsiteY123" fmla="*/ 310062 h 5562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</a:cxnLst>
            <a:rect l="l" t="t" r="r" b="b"/>
            <a:pathLst>
              <a:path w="1456912" h="556225">
                <a:moveTo>
                  <a:pt x="0" y="51854"/>
                </a:moveTo>
                <a:lnTo>
                  <a:pt x="28188" y="23666"/>
                </a:lnTo>
                <a:lnTo>
                  <a:pt x="28188" y="535557"/>
                </a:lnTo>
                <a:lnTo>
                  <a:pt x="0" y="535557"/>
                </a:lnTo>
                <a:lnTo>
                  <a:pt x="0" y="51854"/>
                </a:lnTo>
                <a:close/>
                <a:moveTo>
                  <a:pt x="84564" y="28188"/>
                </a:moveTo>
                <a:lnTo>
                  <a:pt x="422811" y="28188"/>
                </a:lnTo>
                <a:lnTo>
                  <a:pt x="422811" y="0"/>
                </a:lnTo>
                <a:lnTo>
                  <a:pt x="56376" y="0"/>
                </a:lnTo>
                <a:lnTo>
                  <a:pt x="56376" y="338244"/>
                </a:lnTo>
                <a:lnTo>
                  <a:pt x="367711" y="338244"/>
                </a:lnTo>
                <a:lnTo>
                  <a:pt x="367711" y="310062"/>
                </a:lnTo>
                <a:lnTo>
                  <a:pt x="84564" y="310062"/>
                </a:lnTo>
                <a:lnTo>
                  <a:pt x="84564" y="28188"/>
                </a:lnTo>
                <a:close/>
                <a:moveTo>
                  <a:pt x="410152" y="253686"/>
                </a:moveTo>
                <a:lnTo>
                  <a:pt x="140937" y="253686"/>
                </a:lnTo>
                <a:lnTo>
                  <a:pt x="140937" y="140940"/>
                </a:lnTo>
                <a:lnTo>
                  <a:pt x="371171" y="140940"/>
                </a:lnTo>
                <a:lnTo>
                  <a:pt x="399359" y="112752"/>
                </a:lnTo>
                <a:lnTo>
                  <a:pt x="140937" y="112752"/>
                </a:lnTo>
                <a:lnTo>
                  <a:pt x="140937" y="84564"/>
                </a:lnTo>
                <a:lnTo>
                  <a:pt x="422811" y="84564"/>
                </a:lnTo>
                <a:lnTo>
                  <a:pt x="422811" y="56376"/>
                </a:lnTo>
                <a:lnTo>
                  <a:pt x="112749" y="56376"/>
                </a:lnTo>
                <a:lnTo>
                  <a:pt x="112749" y="281874"/>
                </a:lnTo>
                <a:lnTo>
                  <a:pt x="382334" y="281874"/>
                </a:lnTo>
                <a:lnTo>
                  <a:pt x="410152" y="253686"/>
                </a:lnTo>
                <a:close/>
                <a:moveTo>
                  <a:pt x="56376" y="535557"/>
                </a:moveTo>
                <a:lnTo>
                  <a:pt x="84564" y="535557"/>
                </a:lnTo>
                <a:lnTo>
                  <a:pt x="84564" y="394620"/>
                </a:lnTo>
                <a:lnTo>
                  <a:pt x="112752" y="394620"/>
                </a:lnTo>
                <a:lnTo>
                  <a:pt x="112752" y="511890"/>
                </a:lnTo>
                <a:lnTo>
                  <a:pt x="140940" y="483705"/>
                </a:lnTo>
                <a:lnTo>
                  <a:pt x="140940" y="394620"/>
                </a:lnTo>
                <a:lnTo>
                  <a:pt x="367714" y="394620"/>
                </a:lnTo>
                <a:lnTo>
                  <a:pt x="367714" y="366435"/>
                </a:lnTo>
                <a:lnTo>
                  <a:pt x="56376" y="366435"/>
                </a:lnTo>
                <a:lnTo>
                  <a:pt x="56376" y="535557"/>
                </a:lnTo>
                <a:close/>
                <a:moveTo>
                  <a:pt x="1428724" y="0"/>
                </a:moveTo>
                <a:lnTo>
                  <a:pt x="1428724" y="324156"/>
                </a:lnTo>
                <a:cubicBezTo>
                  <a:pt x="1428724" y="399584"/>
                  <a:pt x="1395069" y="464387"/>
                  <a:pt x="1316539" y="514089"/>
                </a:cubicBezTo>
                <a:lnTo>
                  <a:pt x="1315903" y="513258"/>
                </a:lnTo>
                <a:cubicBezTo>
                  <a:pt x="1367503" y="472336"/>
                  <a:pt x="1400536" y="419773"/>
                  <a:pt x="1400536" y="351869"/>
                </a:cubicBezTo>
                <a:lnTo>
                  <a:pt x="1400536" y="3"/>
                </a:lnTo>
                <a:lnTo>
                  <a:pt x="1372348" y="3"/>
                </a:lnTo>
                <a:lnTo>
                  <a:pt x="1372348" y="351400"/>
                </a:lnTo>
                <a:cubicBezTo>
                  <a:pt x="1372348" y="452590"/>
                  <a:pt x="1290318" y="528510"/>
                  <a:pt x="1189132" y="528510"/>
                </a:cubicBezTo>
                <a:cubicBezTo>
                  <a:pt x="1087946" y="528510"/>
                  <a:pt x="1005916" y="452587"/>
                  <a:pt x="1005916" y="351400"/>
                </a:cubicBezTo>
                <a:lnTo>
                  <a:pt x="1005916" y="23666"/>
                </a:lnTo>
                <a:lnTo>
                  <a:pt x="977728" y="51854"/>
                </a:lnTo>
                <a:lnTo>
                  <a:pt x="977728" y="351869"/>
                </a:lnTo>
                <a:cubicBezTo>
                  <a:pt x="977728" y="468625"/>
                  <a:pt x="1072376" y="556226"/>
                  <a:pt x="1189132" y="556226"/>
                </a:cubicBezTo>
                <a:cubicBezTo>
                  <a:pt x="1191834" y="556226"/>
                  <a:pt x="1217320" y="556226"/>
                  <a:pt x="1217320" y="556226"/>
                </a:cubicBezTo>
                <a:cubicBezTo>
                  <a:pt x="1332291" y="556226"/>
                  <a:pt x="1456912" y="471321"/>
                  <a:pt x="1456912" y="324566"/>
                </a:cubicBezTo>
                <a:cubicBezTo>
                  <a:pt x="1456912" y="324428"/>
                  <a:pt x="1456912" y="0"/>
                  <a:pt x="1456912" y="0"/>
                </a:cubicBezTo>
                <a:lnTo>
                  <a:pt x="1428724" y="0"/>
                </a:lnTo>
                <a:close/>
                <a:moveTo>
                  <a:pt x="1189132" y="500322"/>
                </a:moveTo>
                <a:cubicBezTo>
                  <a:pt x="1274706" y="500322"/>
                  <a:pt x="1344082" y="436948"/>
                  <a:pt x="1344160" y="351400"/>
                </a:cubicBezTo>
                <a:lnTo>
                  <a:pt x="1344160" y="351400"/>
                </a:lnTo>
                <a:lnTo>
                  <a:pt x="1344160" y="23666"/>
                </a:lnTo>
                <a:lnTo>
                  <a:pt x="1315972" y="51854"/>
                </a:lnTo>
                <a:lnTo>
                  <a:pt x="1315972" y="324153"/>
                </a:lnTo>
                <a:cubicBezTo>
                  <a:pt x="1315972" y="378637"/>
                  <a:pt x="1271801" y="415761"/>
                  <a:pt x="1217317" y="415761"/>
                </a:cubicBezTo>
                <a:cubicBezTo>
                  <a:pt x="1162833" y="415761"/>
                  <a:pt x="1118662" y="378637"/>
                  <a:pt x="1118662" y="324153"/>
                </a:cubicBezTo>
                <a:lnTo>
                  <a:pt x="1118662" y="3"/>
                </a:lnTo>
                <a:lnTo>
                  <a:pt x="1090474" y="3"/>
                </a:lnTo>
                <a:lnTo>
                  <a:pt x="1090474" y="324156"/>
                </a:lnTo>
                <a:cubicBezTo>
                  <a:pt x="1090474" y="394209"/>
                  <a:pt x="1147264" y="443951"/>
                  <a:pt x="1217317" y="443951"/>
                </a:cubicBezTo>
                <a:cubicBezTo>
                  <a:pt x="1245962" y="443951"/>
                  <a:pt x="1280732" y="429800"/>
                  <a:pt x="1304349" y="404889"/>
                </a:cubicBezTo>
                <a:lnTo>
                  <a:pt x="1304982" y="405720"/>
                </a:lnTo>
                <a:cubicBezTo>
                  <a:pt x="1282838" y="446784"/>
                  <a:pt x="1241907" y="472139"/>
                  <a:pt x="1189129" y="472139"/>
                </a:cubicBezTo>
                <a:cubicBezTo>
                  <a:pt x="1119507" y="472139"/>
                  <a:pt x="1062992" y="421734"/>
                  <a:pt x="1062303" y="352344"/>
                </a:cubicBezTo>
                <a:lnTo>
                  <a:pt x="1062286" y="352344"/>
                </a:lnTo>
                <a:lnTo>
                  <a:pt x="1062286" y="3"/>
                </a:lnTo>
                <a:lnTo>
                  <a:pt x="1034098" y="3"/>
                </a:lnTo>
                <a:lnTo>
                  <a:pt x="1034098" y="352341"/>
                </a:lnTo>
                <a:lnTo>
                  <a:pt x="1034113" y="352341"/>
                </a:lnTo>
                <a:cubicBezTo>
                  <a:pt x="1034703" y="437411"/>
                  <a:pt x="1103877" y="500322"/>
                  <a:pt x="1189132" y="500322"/>
                </a:cubicBezTo>
                <a:close/>
                <a:moveTo>
                  <a:pt x="562774" y="366435"/>
                </a:moveTo>
                <a:lnTo>
                  <a:pt x="491494" y="535557"/>
                </a:lnTo>
                <a:lnTo>
                  <a:pt x="519684" y="535554"/>
                </a:lnTo>
                <a:lnTo>
                  <a:pt x="519682" y="535557"/>
                </a:lnTo>
                <a:lnTo>
                  <a:pt x="519684" y="535557"/>
                </a:lnTo>
                <a:lnTo>
                  <a:pt x="555322" y="450996"/>
                </a:lnTo>
                <a:lnTo>
                  <a:pt x="794138" y="450996"/>
                </a:lnTo>
                <a:lnTo>
                  <a:pt x="829744" y="535557"/>
                </a:lnTo>
                <a:lnTo>
                  <a:pt x="857932" y="535557"/>
                </a:lnTo>
                <a:lnTo>
                  <a:pt x="810457" y="422808"/>
                </a:lnTo>
                <a:lnTo>
                  <a:pt x="567200" y="422808"/>
                </a:lnTo>
                <a:lnTo>
                  <a:pt x="579078" y="394620"/>
                </a:lnTo>
                <a:lnTo>
                  <a:pt x="826776" y="394620"/>
                </a:lnTo>
                <a:lnTo>
                  <a:pt x="886120" y="535557"/>
                </a:lnTo>
                <a:lnTo>
                  <a:pt x="914308" y="535557"/>
                </a:lnTo>
                <a:lnTo>
                  <a:pt x="843097" y="366435"/>
                </a:lnTo>
                <a:lnTo>
                  <a:pt x="562774" y="366435"/>
                </a:lnTo>
                <a:close/>
                <a:moveTo>
                  <a:pt x="604248" y="0"/>
                </a:moveTo>
                <a:lnTo>
                  <a:pt x="397091" y="491374"/>
                </a:lnTo>
                <a:lnTo>
                  <a:pt x="415032" y="515732"/>
                </a:lnTo>
                <a:lnTo>
                  <a:pt x="632437" y="0"/>
                </a:lnTo>
                <a:lnTo>
                  <a:pt x="604248" y="0"/>
                </a:lnTo>
                <a:close/>
                <a:moveTo>
                  <a:pt x="716998" y="3"/>
                </a:moveTo>
                <a:lnTo>
                  <a:pt x="934130" y="515735"/>
                </a:lnTo>
                <a:lnTo>
                  <a:pt x="952028" y="491377"/>
                </a:lnTo>
                <a:lnTo>
                  <a:pt x="745186" y="3"/>
                </a:lnTo>
                <a:lnTo>
                  <a:pt x="716998" y="3"/>
                </a:lnTo>
                <a:close/>
                <a:moveTo>
                  <a:pt x="546409" y="338247"/>
                </a:moveTo>
                <a:lnTo>
                  <a:pt x="463042" y="535557"/>
                </a:lnTo>
                <a:lnTo>
                  <a:pt x="434854" y="535557"/>
                </a:lnTo>
                <a:lnTo>
                  <a:pt x="646528" y="33467"/>
                </a:lnTo>
                <a:lnTo>
                  <a:pt x="762988" y="310059"/>
                </a:lnTo>
                <a:lnTo>
                  <a:pt x="791176" y="310059"/>
                </a:lnTo>
                <a:lnTo>
                  <a:pt x="660624" y="3"/>
                </a:lnTo>
                <a:lnTo>
                  <a:pt x="688812" y="3"/>
                </a:lnTo>
                <a:lnTo>
                  <a:pt x="831231" y="338247"/>
                </a:lnTo>
                <a:lnTo>
                  <a:pt x="546409" y="338247"/>
                </a:lnTo>
                <a:close/>
                <a:moveTo>
                  <a:pt x="674788" y="167531"/>
                </a:moveTo>
                <a:lnTo>
                  <a:pt x="614721" y="310062"/>
                </a:lnTo>
                <a:lnTo>
                  <a:pt x="734800" y="310062"/>
                </a:lnTo>
                <a:lnTo>
                  <a:pt x="674788" y="167531"/>
                </a:lnTo>
                <a:close/>
                <a:moveTo>
                  <a:pt x="558275" y="310062"/>
                </a:moveTo>
                <a:lnTo>
                  <a:pt x="586535" y="310062"/>
                </a:lnTo>
                <a:lnTo>
                  <a:pt x="660703" y="134072"/>
                </a:lnTo>
                <a:lnTo>
                  <a:pt x="646588" y="100553"/>
                </a:lnTo>
                <a:lnTo>
                  <a:pt x="558275" y="310062"/>
                </a:lnTo>
                <a:close/>
              </a:path>
            </a:pathLst>
          </a:custGeom>
          <a:solidFill>
            <a:schemeClr val="tx1"/>
          </a:solidFill>
          <a:ln w="2892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grpSp>
        <p:nvGrpSpPr>
          <p:cNvPr id="115" name="Gruppieren 114">
            <a:extLst>
              <a:ext uri="{FF2B5EF4-FFF2-40B4-BE49-F238E27FC236}">
                <a16:creationId xmlns:a16="http://schemas.microsoft.com/office/drawing/2014/main" id="{0A98968C-4DA6-40AF-94C9-FC277A4B0B08}"/>
              </a:ext>
            </a:extLst>
          </p:cNvPr>
          <p:cNvGrpSpPr/>
          <p:nvPr userDrawn="1"/>
        </p:nvGrpSpPr>
        <p:grpSpPr>
          <a:xfrm>
            <a:off x="-390525" y="160153"/>
            <a:ext cx="333375" cy="136812"/>
            <a:chOff x="-390525" y="160153"/>
            <a:chExt cx="333375" cy="136812"/>
          </a:xfrm>
        </p:grpSpPr>
        <p:cxnSp>
          <p:nvCxnSpPr>
            <p:cNvPr id="116" name="Gerader Verbinder 115">
              <a:extLst>
                <a:ext uri="{FF2B5EF4-FFF2-40B4-BE49-F238E27FC236}">
                  <a16:creationId xmlns:a16="http://schemas.microsoft.com/office/drawing/2014/main" id="{D558573A-1AE8-4E91-9D6D-C201FB793AF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90525" y="296965"/>
              <a:ext cx="333375" cy="0"/>
            </a:xfrm>
            <a:prstGeom prst="line">
              <a:avLst/>
            </a:prstGeom>
            <a:ln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17" name="Textfeld 116">
              <a:extLst>
                <a:ext uri="{FF2B5EF4-FFF2-40B4-BE49-F238E27FC236}">
                  <a16:creationId xmlns:a16="http://schemas.microsoft.com/office/drawing/2014/main" id="{1B757731-A263-4F50-8E8E-3BDB5E574632}"/>
                </a:ext>
              </a:extLst>
            </p:cNvPr>
            <p:cNvSpPr txBox="1"/>
            <p:nvPr userDrawn="1"/>
          </p:nvSpPr>
          <p:spPr>
            <a:xfrm>
              <a:off x="-353681" y="160153"/>
              <a:ext cx="259686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75000"/>
                    </a:scheme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8,70</a:t>
              </a:r>
            </a:p>
          </p:txBody>
        </p:sp>
      </p:grpSp>
      <p:grpSp>
        <p:nvGrpSpPr>
          <p:cNvPr id="118" name="Gruppieren 117">
            <a:extLst>
              <a:ext uri="{FF2B5EF4-FFF2-40B4-BE49-F238E27FC236}">
                <a16:creationId xmlns:a16="http://schemas.microsoft.com/office/drawing/2014/main" id="{18ECC25F-964C-49D8-B02A-BFE8BCD70A87}"/>
              </a:ext>
            </a:extLst>
          </p:cNvPr>
          <p:cNvGrpSpPr/>
          <p:nvPr userDrawn="1"/>
        </p:nvGrpSpPr>
        <p:grpSpPr>
          <a:xfrm>
            <a:off x="-390525" y="1131703"/>
            <a:ext cx="333375" cy="136812"/>
            <a:chOff x="-390525" y="1131703"/>
            <a:chExt cx="333375" cy="136812"/>
          </a:xfrm>
        </p:grpSpPr>
        <p:cxnSp>
          <p:nvCxnSpPr>
            <p:cNvPr id="119" name="Gerader Verbinder 118">
              <a:extLst>
                <a:ext uri="{FF2B5EF4-FFF2-40B4-BE49-F238E27FC236}">
                  <a16:creationId xmlns:a16="http://schemas.microsoft.com/office/drawing/2014/main" id="{958219AE-1E9B-45E0-8E2D-2A309441E80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90525" y="1268515"/>
              <a:ext cx="333375" cy="0"/>
            </a:xfrm>
            <a:prstGeom prst="line">
              <a:avLst/>
            </a:prstGeom>
            <a:ln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0" name="Textfeld 119">
              <a:extLst>
                <a:ext uri="{FF2B5EF4-FFF2-40B4-BE49-F238E27FC236}">
                  <a16:creationId xmlns:a16="http://schemas.microsoft.com/office/drawing/2014/main" id="{D9355498-0F01-4F90-AD67-1F00810871F3}"/>
                </a:ext>
              </a:extLst>
            </p:cNvPr>
            <p:cNvSpPr txBox="1"/>
            <p:nvPr userDrawn="1"/>
          </p:nvSpPr>
          <p:spPr>
            <a:xfrm>
              <a:off x="-353680" y="1131703"/>
              <a:ext cx="259687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75000"/>
                    </a:scheme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6,00</a:t>
              </a:r>
            </a:p>
          </p:txBody>
        </p:sp>
      </p:grpSp>
      <p:grpSp>
        <p:nvGrpSpPr>
          <p:cNvPr id="121" name="Gruppieren 120">
            <a:extLst>
              <a:ext uri="{FF2B5EF4-FFF2-40B4-BE49-F238E27FC236}">
                <a16:creationId xmlns:a16="http://schemas.microsoft.com/office/drawing/2014/main" id="{C0AF6B1E-2390-4439-A30A-EAF9B5E1ABB2}"/>
              </a:ext>
            </a:extLst>
          </p:cNvPr>
          <p:cNvGrpSpPr/>
          <p:nvPr userDrawn="1"/>
        </p:nvGrpSpPr>
        <p:grpSpPr>
          <a:xfrm>
            <a:off x="-390525" y="1491963"/>
            <a:ext cx="333375" cy="136812"/>
            <a:chOff x="-390525" y="1491963"/>
            <a:chExt cx="333375" cy="136812"/>
          </a:xfrm>
        </p:grpSpPr>
        <p:cxnSp>
          <p:nvCxnSpPr>
            <p:cNvPr id="122" name="Gerader Verbinder 121">
              <a:extLst>
                <a:ext uri="{FF2B5EF4-FFF2-40B4-BE49-F238E27FC236}">
                  <a16:creationId xmlns:a16="http://schemas.microsoft.com/office/drawing/2014/main" id="{6F83EDBC-F5EE-489A-AA37-F033D9940B51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90525" y="1628775"/>
              <a:ext cx="333375" cy="0"/>
            </a:xfrm>
            <a:prstGeom prst="line">
              <a:avLst/>
            </a:prstGeom>
            <a:ln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3" name="Textfeld 122">
              <a:extLst>
                <a:ext uri="{FF2B5EF4-FFF2-40B4-BE49-F238E27FC236}">
                  <a16:creationId xmlns:a16="http://schemas.microsoft.com/office/drawing/2014/main" id="{259AC195-937B-4B15-BBA4-44E57FA2145A}"/>
                </a:ext>
              </a:extLst>
            </p:cNvPr>
            <p:cNvSpPr txBox="1"/>
            <p:nvPr userDrawn="1"/>
          </p:nvSpPr>
          <p:spPr>
            <a:xfrm>
              <a:off x="-353680" y="1491963"/>
              <a:ext cx="259687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75000"/>
                    </a:scheme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5,00</a:t>
              </a:r>
            </a:p>
          </p:txBody>
        </p:sp>
      </p:grpSp>
      <p:grpSp>
        <p:nvGrpSpPr>
          <p:cNvPr id="124" name="Gruppieren 123">
            <a:extLst>
              <a:ext uri="{FF2B5EF4-FFF2-40B4-BE49-F238E27FC236}">
                <a16:creationId xmlns:a16="http://schemas.microsoft.com/office/drawing/2014/main" id="{76DC1EDF-B7A8-463F-A25C-913C2D1930ED}"/>
              </a:ext>
            </a:extLst>
          </p:cNvPr>
          <p:cNvGrpSpPr/>
          <p:nvPr userDrawn="1"/>
        </p:nvGrpSpPr>
        <p:grpSpPr>
          <a:xfrm>
            <a:off x="-390525" y="3292188"/>
            <a:ext cx="333375" cy="136812"/>
            <a:chOff x="-390525" y="3292188"/>
            <a:chExt cx="333375" cy="136812"/>
          </a:xfrm>
        </p:grpSpPr>
        <p:cxnSp>
          <p:nvCxnSpPr>
            <p:cNvPr id="125" name="Gerader Verbinder 124">
              <a:extLst>
                <a:ext uri="{FF2B5EF4-FFF2-40B4-BE49-F238E27FC236}">
                  <a16:creationId xmlns:a16="http://schemas.microsoft.com/office/drawing/2014/main" id="{B819A475-F9F3-4F26-8109-F52E0CC8B46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90525" y="3429000"/>
              <a:ext cx="333375" cy="0"/>
            </a:xfrm>
            <a:prstGeom prst="line">
              <a:avLst/>
            </a:prstGeom>
            <a:ln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6" name="Textfeld 125">
              <a:extLst>
                <a:ext uri="{FF2B5EF4-FFF2-40B4-BE49-F238E27FC236}">
                  <a16:creationId xmlns:a16="http://schemas.microsoft.com/office/drawing/2014/main" id="{DCA1CC82-1D99-4768-BB7D-1113362839BE}"/>
                </a:ext>
              </a:extLst>
            </p:cNvPr>
            <p:cNvSpPr txBox="1"/>
            <p:nvPr userDrawn="1"/>
          </p:nvSpPr>
          <p:spPr>
            <a:xfrm>
              <a:off x="-353680" y="3292188"/>
              <a:ext cx="259687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75000"/>
                    </a:scheme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0,00</a:t>
              </a:r>
            </a:p>
          </p:txBody>
        </p:sp>
      </p:grpSp>
      <p:grpSp>
        <p:nvGrpSpPr>
          <p:cNvPr id="127" name="Gruppieren 126">
            <a:extLst>
              <a:ext uri="{FF2B5EF4-FFF2-40B4-BE49-F238E27FC236}">
                <a16:creationId xmlns:a16="http://schemas.microsoft.com/office/drawing/2014/main" id="{FA75C3FE-1C52-4ADD-9C67-6EEB7C1B2693}"/>
              </a:ext>
            </a:extLst>
          </p:cNvPr>
          <p:cNvGrpSpPr/>
          <p:nvPr userDrawn="1"/>
        </p:nvGrpSpPr>
        <p:grpSpPr>
          <a:xfrm>
            <a:off x="-390525" y="6063963"/>
            <a:ext cx="333375" cy="136812"/>
            <a:chOff x="-390525" y="6063963"/>
            <a:chExt cx="333375" cy="136812"/>
          </a:xfrm>
        </p:grpSpPr>
        <p:cxnSp>
          <p:nvCxnSpPr>
            <p:cNvPr id="128" name="Gerader Verbinder 127">
              <a:extLst>
                <a:ext uri="{FF2B5EF4-FFF2-40B4-BE49-F238E27FC236}">
                  <a16:creationId xmlns:a16="http://schemas.microsoft.com/office/drawing/2014/main" id="{23579909-C13A-4A67-89A1-5376BC7F3C7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90525" y="6200775"/>
              <a:ext cx="333375" cy="0"/>
            </a:xfrm>
            <a:prstGeom prst="line">
              <a:avLst/>
            </a:prstGeom>
            <a:ln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9" name="Textfeld 128">
              <a:extLst>
                <a:ext uri="{FF2B5EF4-FFF2-40B4-BE49-F238E27FC236}">
                  <a16:creationId xmlns:a16="http://schemas.microsoft.com/office/drawing/2014/main" id="{EA39799A-ADC3-46CC-B4B7-24525CCB4E19}"/>
                </a:ext>
              </a:extLst>
            </p:cNvPr>
            <p:cNvSpPr txBox="1"/>
            <p:nvPr userDrawn="1"/>
          </p:nvSpPr>
          <p:spPr>
            <a:xfrm>
              <a:off x="-353679" y="6063963"/>
              <a:ext cx="259687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75000"/>
                    </a:scheme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7,70</a:t>
              </a:r>
            </a:p>
          </p:txBody>
        </p:sp>
      </p:grpSp>
      <p:grpSp>
        <p:nvGrpSpPr>
          <p:cNvPr id="130" name="Gruppieren 129">
            <a:extLst>
              <a:ext uri="{FF2B5EF4-FFF2-40B4-BE49-F238E27FC236}">
                <a16:creationId xmlns:a16="http://schemas.microsoft.com/office/drawing/2014/main" id="{5A9976AE-F7E6-4F3D-928D-E2F4CE69C651}"/>
              </a:ext>
            </a:extLst>
          </p:cNvPr>
          <p:cNvGrpSpPr/>
          <p:nvPr userDrawn="1"/>
        </p:nvGrpSpPr>
        <p:grpSpPr>
          <a:xfrm>
            <a:off x="-390525" y="6495763"/>
            <a:ext cx="333375" cy="136812"/>
            <a:chOff x="-390525" y="6495763"/>
            <a:chExt cx="333375" cy="136812"/>
          </a:xfrm>
        </p:grpSpPr>
        <p:cxnSp>
          <p:nvCxnSpPr>
            <p:cNvPr id="131" name="Gerader Verbinder 130">
              <a:extLst>
                <a:ext uri="{FF2B5EF4-FFF2-40B4-BE49-F238E27FC236}">
                  <a16:creationId xmlns:a16="http://schemas.microsoft.com/office/drawing/2014/main" id="{AE52C592-3FE6-4097-A72B-3C8648500F6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90525" y="6632575"/>
              <a:ext cx="333375" cy="0"/>
            </a:xfrm>
            <a:prstGeom prst="line">
              <a:avLst/>
            </a:prstGeom>
            <a:ln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2" name="Textfeld 131">
              <a:extLst>
                <a:ext uri="{FF2B5EF4-FFF2-40B4-BE49-F238E27FC236}">
                  <a16:creationId xmlns:a16="http://schemas.microsoft.com/office/drawing/2014/main" id="{54BA8BAB-BB9E-4AB2-97A5-C2BD750A4ABC}"/>
                </a:ext>
              </a:extLst>
            </p:cNvPr>
            <p:cNvSpPr txBox="1"/>
            <p:nvPr userDrawn="1"/>
          </p:nvSpPr>
          <p:spPr>
            <a:xfrm>
              <a:off x="-353678" y="6495763"/>
              <a:ext cx="259687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75000"/>
                    </a:scheme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8,90</a:t>
              </a:r>
            </a:p>
          </p:txBody>
        </p:sp>
      </p:grpSp>
      <p:grpSp>
        <p:nvGrpSpPr>
          <p:cNvPr id="133" name="Gruppieren 132">
            <a:extLst>
              <a:ext uri="{FF2B5EF4-FFF2-40B4-BE49-F238E27FC236}">
                <a16:creationId xmlns:a16="http://schemas.microsoft.com/office/drawing/2014/main" id="{944DD0E4-60A9-4240-97FF-C57932885BF6}"/>
              </a:ext>
            </a:extLst>
          </p:cNvPr>
          <p:cNvGrpSpPr/>
          <p:nvPr userDrawn="1"/>
        </p:nvGrpSpPr>
        <p:grpSpPr>
          <a:xfrm>
            <a:off x="379928" y="-397421"/>
            <a:ext cx="136808" cy="333375"/>
            <a:chOff x="379928" y="-397421"/>
            <a:chExt cx="136808" cy="333375"/>
          </a:xfrm>
        </p:grpSpPr>
        <p:cxnSp>
          <p:nvCxnSpPr>
            <p:cNvPr id="134" name="Gerader Verbinder 133">
              <a:extLst>
                <a:ext uri="{FF2B5EF4-FFF2-40B4-BE49-F238E27FC236}">
                  <a16:creationId xmlns:a16="http://schemas.microsoft.com/office/drawing/2014/main" id="{61688995-3233-4595-8E72-34D3F1C21A0E}"/>
                </a:ext>
              </a:extLst>
            </p:cNvPr>
            <p:cNvCxnSpPr>
              <a:cxnSpLocks/>
            </p:cNvCxnSpPr>
            <p:nvPr userDrawn="1"/>
          </p:nvCxnSpPr>
          <p:spPr>
            <a:xfrm rot="16200000">
              <a:off x="350048" y="-230733"/>
              <a:ext cx="333375" cy="0"/>
            </a:xfrm>
            <a:prstGeom prst="line">
              <a:avLst/>
            </a:prstGeom>
            <a:ln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5" name="Textfeld 134">
              <a:extLst>
                <a:ext uri="{FF2B5EF4-FFF2-40B4-BE49-F238E27FC236}">
                  <a16:creationId xmlns:a16="http://schemas.microsoft.com/office/drawing/2014/main" id="{12F1DB1D-A979-4E91-A0BB-72A87A2162EA}"/>
                </a:ext>
              </a:extLst>
            </p:cNvPr>
            <p:cNvSpPr txBox="1"/>
            <p:nvPr userDrawn="1"/>
          </p:nvSpPr>
          <p:spPr>
            <a:xfrm rot="16200000">
              <a:off x="312537" y="-293184"/>
              <a:ext cx="259687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75000"/>
                    </a:scheme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15,50</a:t>
              </a:r>
            </a:p>
          </p:txBody>
        </p:sp>
      </p:grpSp>
      <p:grpSp>
        <p:nvGrpSpPr>
          <p:cNvPr id="136" name="Gruppieren 135">
            <a:extLst>
              <a:ext uri="{FF2B5EF4-FFF2-40B4-BE49-F238E27FC236}">
                <a16:creationId xmlns:a16="http://schemas.microsoft.com/office/drawing/2014/main" id="{6D1F4F6E-1F8D-4EE1-8F42-561EE9F3F372}"/>
              </a:ext>
            </a:extLst>
          </p:cNvPr>
          <p:cNvGrpSpPr/>
          <p:nvPr userDrawn="1"/>
        </p:nvGrpSpPr>
        <p:grpSpPr>
          <a:xfrm>
            <a:off x="6203950" y="-397424"/>
            <a:ext cx="124906" cy="333375"/>
            <a:chOff x="6203950" y="-397424"/>
            <a:chExt cx="124906" cy="333375"/>
          </a:xfrm>
        </p:grpSpPr>
        <p:cxnSp>
          <p:nvCxnSpPr>
            <p:cNvPr id="137" name="Gerader Verbinder 136">
              <a:extLst>
                <a:ext uri="{FF2B5EF4-FFF2-40B4-BE49-F238E27FC236}">
                  <a16:creationId xmlns:a16="http://schemas.microsoft.com/office/drawing/2014/main" id="{420EEDD4-EF71-4FDC-BC36-3258230F7708}"/>
                </a:ext>
              </a:extLst>
            </p:cNvPr>
            <p:cNvCxnSpPr>
              <a:cxnSpLocks/>
            </p:cNvCxnSpPr>
            <p:nvPr userDrawn="1"/>
          </p:nvCxnSpPr>
          <p:spPr>
            <a:xfrm rot="16200000">
              <a:off x="6037263" y="-230736"/>
              <a:ext cx="333375" cy="0"/>
            </a:xfrm>
            <a:prstGeom prst="line">
              <a:avLst/>
            </a:prstGeom>
            <a:ln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8" name="Textfeld 137">
              <a:extLst>
                <a:ext uri="{FF2B5EF4-FFF2-40B4-BE49-F238E27FC236}">
                  <a16:creationId xmlns:a16="http://schemas.microsoft.com/office/drawing/2014/main" id="{ECCD68D0-892A-4A6F-972A-842A8F39A1B5}"/>
                </a:ext>
              </a:extLst>
            </p:cNvPr>
            <p:cNvSpPr txBox="1"/>
            <p:nvPr userDrawn="1"/>
          </p:nvSpPr>
          <p:spPr>
            <a:xfrm rot="16200000">
              <a:off x="6136559" y="-293191"/>
              <a:ext cx="259687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75000"/>
                    </a:scheme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0,30</a:t>
              </a:r>
            </a:p>
          </p:txBody>
        </p:sp>
      </p:grpSp>
      <p:grpSp>
        <p:nvGrpSpPr>
          <p:cNvPr id="139" name="Gruppieren 138">
            <a:extLst>
              <a:ext uri="{FF2B5EF4-FFF2-40B4-BE49-F238E27FC236}">
                <a16:creationId xmlns:a16="http://schemas.microsoft.com/office/drawing/2014/main" id="{57C116C8-310E-4724-9C91-C92ED7B4882B}"/>
              </a:ext>
            </a:extLst>
          </p:cNvPr>
          <p:cNvGrpSpPr/>
          <p:nvPr userDrawn="1"/>
        </p:nvGrpSpPr>
        <p:grpSpPr>
          <a:xfrm>
            <a:off x="5851249" y="-397424"/>
            <a:ext cx="244752" cy="333377"/>
            <a:chOff x="5851249" y="-397424"/>
            <a:chExt cx="244752" cy="333377"/>
          </a:xfrm>
        </p:grpSpPr>
        <p:cxnSp>
          <p:nvCxnSpPr>
            <p:cNvPr id="140" name="Gerader Verbinder 139">
              <a:extLst>
                <a:ext uri="{FF2B5EF4-FFF2-40B4-BE49-F238E27FC236}">
                  <a16:creationId xmlns:a16="http://schemas.microsoft.com/office/drawing/2014/main" id="{6F42C049-0C56-4DA0-894A-E2B500C6631F}"/>
                </a:ext>
              </a:extLst>
            </p:cNvPr>
            <p:cNvCxnSpPr>
              <a:cxnSpLocks/>
            </p:cNvCxnSpPr>
            <p:nvPr userDrawn="1"/>
          </p:nvCxnSpPr>
          <p:spPr>
            <a:xfrm rot="16200000">
              <a:off x="5821365" y="-230734"/>
              <a:ext cx="333375" cy="0"/>
            </a:xfrm>
            <a:prstGeom prst="line">
              <a:avLst/>
            </a:prstGeom>
            <a:ln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1" name="Textfeld 140">
              <a:extLst>
                <a:ext uri="{FF2B5EF4-FFF2-40B4-BE49-F238E27FC236}">
                  <a16:creationId xmlns:a16="http://schemas.microsoft.com/office/drawing/2014/main" id="{0A97CD6E-6320-490A-82B8-07989553480B}"/>
                </a:ext>
              </a:extLst>
            </p:cNvPr>
            <p:cNvSpPr txBox="1"/>
            <p:nvPr userDrawn="1"/>
          </p:nvSpPr>
          <p:spPr>
            <a:xfrm rot="16200000">
              <a:off x="5783858" y="-293189"/>
              <a:ext cx="259687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75000"/>
                    </a:scheme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0,30</a:t>
              </a:r>
            </a:p>
          </p:txBody>
        </p:sp>
        <p:cxnSp>
          <p:nvCxnSpPr>
            <p:cNvPr id="142" name="Gerader Verbinder 141">
              <a:extLst>
                <a:ext uri="{FF2B5EF4-FFF2-40B4-BE49-F238E27FC236}">
                  <a16:creationId xmlns:a16="http://schemas.microsoft.com/office/drawing/2014/main" id="{A70930FB-DEEE-4AB2-B50A-B50567F43FBA}"/>
                </a:ext>
              </a:extLst>
            </p:cNvPr>
            <p:cNvCxnSpPr>
              <a:cxnSpLocks/>
            </p:cNvCxnSpPr>
            <p:nvPr userDrawn="1"/>
          </p:nvCxnSpPr>
          <p:spPr>
            <a:xfrm rot="16200000">
              <a:off x="5929313" y="-230736"/>
              <a:ext cx="333375" cy="0"/>
            </a:xfrm>
            <a:prstGeom prst="line">
              <a:avLst/>
            </a:prstGeom>
            <a:ln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43" name="Gruppieren 142">
            <a:extLst>
              <a:ext uri="{FF2B5EF4-FFF2-40B4-BE49-F238E27FC236}">
                <a16:creationId xmlns:a16="http://schemas.microsoft.com/office/drawing/2014/main" id="{C8C3814D-D7BF-43ED-B9EF-D5A7C5D05C01}"/>
              </a:ext>
            </a:extLst>
          </p:cNvPr>
          <p:cNvGrpSpPr/>
          <p:nvPr userDrawn="1"/>
        </p:nvGrpSpPr>
        <p:grpSpPr>
          <a:xfrm>
            <a:off x="11545613" y="-397427"/>
            <a:ext cx="136800" cy="333375"/>
            <a:chOff x="11545613" y="-397427"/>
            <a:chExt cx="136800" cy="333375"/>
          </a:xfrm>
        </p:grpSpPr>
        <p:cxnSp>
          <p:nvCxnSpPr>
            <p:cNvPr id="144" name="Gerader Verbinder 143">
              <a:extLst>
                <a:ext uri="{FF2B5EF4-FFF2-40B4-BE49-F238E27FC236}">
                  <a16:creationId xmlns:a16="http://schemas.microsoft.com/office/drawing/2014/main" id="{F30BB0A8-82FF-4B37-92A2-59C7DEFDEB6B}"/>
                </a:ext>
              </a:extLst>
            </p:cNvPr>
            <p:cNvCxnSpPr>
              <a:cxnSpLocks/>
            </p:cNvCxnSpPr>
            <p:nvPr userDrawn="1"/>
          </p:nvCxnSpPr>
          <p:spPr>
            <a:xfrm rot="16200000">
              <a:off x="11515725" y="-230739"/>
              <a:ext cx="333375" cy="0"/>
            </a:xfrm>
            <a:prstGeom prst="line">
              <a:avLst/>
            </a:prstGeom>
            <a:ln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5" name="Textfeld 144">
              <a:extLst>
                <a:ext uri="{FF2B5EF4-FFF2-40B4-BE49-F238E27FC236}">
                  <a16:creationId xmlns:a16="http://schemas.microsoft.com/office/drawing/2014/main" id="{FECF3826-24F6-4D05-8D94-4C3411397B58}"/>
                </a:ext>
              </a:extLst>
            </p:cNvPr>
            <p:cNvSpPr txBox="1"/>
            <p:nvPr userDrawn="1"/>
          </p:nvSpPr>
          <p:spPr>
            <a:xfrm rot="16200000">
              <a:off x="11478222" y="-293197"/>
              <a:ext cx="259687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75000"/>
                    </a:scheme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15,50</a:t>
              </a:r>
            </a:p>
          </p:txBody>
        </p:sp>
      </p:grpSp>
      <p:sp>
        <p:nvSpPr>
          <p:cNvPr id="146" name="Rechteck 145">
            <a:extLst>
              <a:ext uri="{FF2B5EF4-FFF2-40B4-BE49-F238E27FC236}">
                <a16:creationId xmlns:a16="http://schemas.microsoft.com/office/drawing/2014/main" id="{EBE8C122-6535-4868-8094-58D57E3EC4E1}"/>
              </a:ext>
            </a:extLst>
          </p:cNvPr>
          <p:cNvSpPr/>
          <p:nvPr userDrawn="1"/>
        </p:nvSpPr>
        <p:spPr>
          <a:xfrm>
            <a:off x="518400" y="1413835"/>
            <a:ext cx="11676062" cy="72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148" name="Grafik 147">
            <a:extLst>
              <a:ext uri="{FF2B5EF4-FFF2-40B4-BE49-F238E27FC236}">
                <a16:creationId xmlns:a16="http://schemas.microsoft.com/office/drawing/2014/main" id="{42C3E3B8-06E1-463A-8AD5-8EC3976C25C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09578" y="293687"/>
            <a:ext cx="2604169" cy="5568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8389113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 | Hintergrund">
    <p:bg bwMode="black"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0" name="Bildplatzhalter 6">
            <a:extLst>
              <a:ext uri="{FF2B5EF4-FFF2-40B4-BE49-F238E27FC236}">
                <a16:creationId xmlns:a16="http://schemas.microsoft.com/office/drawing/2014/main" id="{0D2DDB25-9CAC-48C8-BC60-CEBC2F4025E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86" y="1627592"/>
            <a:ext cx="12192000" cy="5229226"/>
          </a:xfrm>
          <a:prstGeom prst="rect">
            <a:avLst/>
          </a:prstGeom>
        </p:spPr>
      </p:pic>
      <p:sp>
        <p:nvSpPr>
          <p:cNvPr id="203" name="Rechteck 202">
            <a:extLst>
              <a:ext uri="{FF2B5EF4-FFF2-40B4-BE49-F238E27FC236}">
                <a16:creationId xmlns:a16="http://schemas.microsoft.com/office/drawing/2014/main" id="{D42AF6BC-7116-433D-B07A-EB33A00DD47E}"/>
              </a:ext>
            </a:extLst>
          </p:cNvPr>
          <p:cNvSpPr/>
          <p:nvPr userDrawn="1"/>
        </p:nvSpPr>
        <p:spPr bwMode="invGray">
          <a:xfrm>
            <a:off x="0" y="1628775"/>
            <a:ext cx="12192000" cy="5229225"/>
          </a:xfrm>
          <a:prstGeom prst="rect">
            <a:avLst/>
          </a:prstGeom>
          <a:gradFill>
            <a:gsLst>
              <a:gs pos="50000">
                <a:schemeClr val="accent3">
                  <a:alpha val="50000"/>
                </a:schemeClr>
              </a:gs>
              <a:gs pos="5000">
                <a:schemeClr val="accent3"/>
              </a:gs>
              <a:gs pos="100000">
                <a:schemeClr val="accent3">
                  <a:alpha val="20000"/>
                </a:scheme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ctr"/>
          <a:lstStyle/>
          <a:p>
            <a:pPr marL="0" marR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8" name="Freihandform: Form 57">
            <a:extLst>
              <a:ext uri="{FF2B5EF4-FFF2-40B4-BE49-F238E27FC236}">
                <a16:creationId xmlns:a16="http://schemas.microsoft.com/office/drawing/2014/main" id="{1A7F7BEE-9A4B-44B2-960F-97720F4BC3DA}"/>
              </a:ext>
            </a:extLst>
          </p:cNvPr>
          <p:cNvSpPr/>
          <p:nvPr userDrawn="1"/>
        </p:nvSpPr>
        <p:spPr>
          <a:xfrm>
            <a:off x="10056938" y="300703"/>
            <a:ext cx="1619125" cy="618155"/>
          </a:xfrm>
          <a:custGeom>
            <a:avLst/>
            <a:gdLst>
              <a:gd name="connsiteX0" fmla="*/ 0 w 1456912"/>
              <a:gd name="connsiteY0" fmla="*/ 51854 h 556225"/>
              <a:gd name="connsiteX1" fmla="*/ 28188 w 1456912"/>
              <a:gd name="connsiteY1" fmla="*/ 23666 h 556225"/>
              <a:gd name="connsiteX2" fmla="*/ 28188 w 1456912"/>
              <a:gd name="connsiteY2" fmla="*/ 535557 h 556225"/>
              <a:gd name="connsiteX3" fmla="*/ 0 w 1456912"/>
              <a:gd name="connsiteY3" fmla="*/ 535557 h 556225"/>
              <a:gd name="connsiteX4" fmla="*/ 0 w 1456912"/>
              <a:gd name="connsiteY4" fmla="*/ 51854 h 556225"/>
              <a:gd name="connsiteX5" fmla="*/ 84564 w 1456912"/>
              <a:gd name="connsiteY5" fmla="*/ 28188 h 556225"/>
              <a:gd name="connsiteX6" fmla="*/ 422811 w 1456912"/>
              <a:gd name="connsiteY6" fmla="*/ 28188 h 556225"/>
              <a:gd name="connsiteX7" fmla="*/ 422811 w 1456912"/>
              <a:gd name="connsiteY7" fmla="*/ 0 h 556225"/>
              <a:gd name="connsiteX8" fmla="*/ 56376 w 1456912"/>
              <a:gd name="connsiteY8" fmla="*/ 0 h 556225"/>
              <a:gd name="connsiteX9" fmla="*/ 56376 w 1456912"/>
              <a:gd name="connsiteY9" fmla="*/ 338244 h 556225"/>
              <a:gd name="connsiteX10" fmla="*/ 367711 w 1456912"/>
              <a:gd name="connsiteY10" fmla="*/ 338244 h 556225"/>
              <a:gd name="connsiteX11" fmla="*/ 367711 w 1456912"/>
              <a:gd name="connsiteY11" fmla="*/ 310062 h 556225"/>
              <a:gd name="connsiteX12" fmla="*/ 84564 w 1456912"/>
              <a:gd name="connsiteY12" fmla="*/ 310062 h 556225"/>
              <a:gd name="connsiteX13" fmla="*/ 84564 w 1456912"/>
              <a:gd name="connsiteY13" fmla="*/ 28188 h 556225"/>
              <a:gd name="connsiteX14" fmla="*/ 410152 w 1456912"/>
              <a:gd name="connsiteY14" fmla="*/ 253686 h 556225"/>
              <a:gd name="connsiteX15" fmla="*/ 140937 w 1456912"/>
              <a:gd name="connsiteY15" fmla="*/ 253686 h 556225"/>
              <a:gd name="connsiteX16" fmla="*/ 140937 w 1456912"/>
              <a:gd name="connsiteY16" fmla="*/ 140940 h 556225"/>
              <a:gd name="connsiteX17" fmla="*/ 371171 w 1456912"/>
              <a:gd name="connsiteY17" fmla="*/ 140940 h 556225"/>
              <a:gd name="connsiteX18" fmla="*/ 399359 w 1456912"/>
              <a:gd name="connsiteY18" fmla="*/ 112752 h 556225"/>
              <a:gd name="connsiteX19" fmla="*/ 140937 w 1456912"/>
              <a:gd name="connsiteY19" fmla="*/ 112752 h 556225"/>
              <a:gd name="connsiteX20" fmla="*/ 140937 w 1456912"/>
              <a:gd name="connsiteY20" fmla="*/ 84564 h 556225"/>
              <a:gd name="connsiteX21" fmla="*/ 422811 w 1456912"/>
              <a:gd name="connsiteY21" fmla="*/ 84564 h 556225"/>
              <a:gd name="connsiteX22" fmla="*/ 422811 w 1456912"/>
              <a:gd name="connsiteY22" fmla="*/ 56376 h 556225"/>
              <a:gd name="connsiteX23" fmla="*/ 112749 w 1456912"/>
              <a:gd name="connsiteY23" fmla="*/ 56376 h 556225"/>
              <a:gd name="connsiteX24" fmla="*/ 112749 w 1456912"/>
              <a:gd name="connsiteY24" fmla="*/ 281874 h 556225"/>
              <a:gd name="connsiteX25" fmla="*/ 382334 w 1456912"/>
              <a:gd name="connsiteY25" fmla="*/ 281874 h 556225"/>
              <a:gd name="connsiteX26" fmla="*/ 410152 w 1456912"/>
              <a:gd name="connsiteY26" fmla="*/ 253686 h 556225"/>
              <a:gd name="connsiteX27" fmla="*/ 56376 w 1456912"/>
              <a:gd name="connsiteY27" fmla="*/ 535557 h 556225"/>
              <a:gd name="connsiteX28" fmla="*/ 84564 w 1456912"/>
              <a:gd name="connsiteY28" fmla="*/ 535557 h 556225"/>
              <a:gd name="connsiteX29" fmla="*/ 84564 w 1456912"/>
              <a:gd name="connsiteY29" fmla="*/ 394620 h 556225"/>
              <a:gd name="connsiteX30" fmla="*/ 112752 w 1456912"/>
              <a:gd name="connsiteY30" fmla="*/ 394620 h 556225"/>
              <a:gd name="connsiteX31" fmla="*/ 112752 w 1456912"/>
              <a:gd name="connsiteY31" fmla="*/ 511890 h 556225"/>
              <a:gd name="connsiteX32" fmla="*/ 140940 w 1456912"/>
              <a:gd name="connsiteY32" fmla="*/ 483705 h 556225"/>
              <a:gd name="connsiteX33" fmla="*/ 140940 w 1456912"/>
              <a:gd name="connsiteY33" fmla="*/ 394620 h 556225"/>
              <a:gd name="connsiteX34" fmla="*/ 367714 w 1456912"/>
              <a:gd name="connsiteY34" fmla="*/ 394620 h 556225"/>
              <a:gd name="connsiteX35" fmla="*/ 367714 w 1456912"/>
              <a:gd name="connsiteY35" fmla="*/ 366435 h 556225"/>
              <a:gd name="connsiteX36" fmla="*/ 56376 w 1456912"/>
              <a:gd name="connsiteY36" fmla="*/ 366435 h 556225"/>
              <a:gd name="connsiteX37" fmla="*/ 56376 w 1456912"/>
              <a:gd name="connsiteY37" fmla="*/ 535557 h 556225"/>
              <a:gd name="connsiteX38" fmla="*/ 1428724 w 1456912"/>
              <a:gd name="connsiteY38" fmla="*/ 0 h 556225"/>
              <a:gd name="connsiteX39" fmla="*/ 1428724 w 1456912"/>
              <a:gd name="connsiteY39" fmla="*/ 324156 h 556225"/>
              <a:gd name="connsiteX40" fmla="*/ 1316539 w 1456912"/>
              <a:gd name="connsiteY40" fmla="*/ 514089 h 556225"/>
              <a:gd name="connsiteX41" fmla="*/ 1315903 w 1456912"/>
              <a:gd name="connsiteY41" fmla="*/ 513258 h 556225"/>
              <a:gd name="connsiteX42" fmla="*/ 1400536 w 1456912"/>
              <a:gd name="connsiteY42" fmla="*/ 351869 h 556225"/>
              <a:gd name="connsiteX43" fmla="*/ 1400536 w 1456912"/>
              <a:gd name="connsiteY43" fmla="*/ 3 h 556225"/>
              <a:gd name="connsiteX44" fmla="*/ 1372348 w 1456912"/>
              <a:gd name="connsiteY44" fmla="*/ 3 h 556225"/>
              <a:gd name="connsiteX45" fmla="*/ 1372348 w 1456912"/>
              <a:gd name="connsiteY45" fmla="*/ 351400 h 556225"/>
              <a:gd name="connsiteX46" fmla="*/ 1189132 w 1456912"/>
              <a:gd name="connsiteY46" fmla="*/ 528510 h 556225"/>
              <a:gd name="connsiteX47" fmla="*/ 1005916 w 1456912"/>
              <a:gd name="connsiteY47" fmla="*/ 351400 h 556225"/>
              <a:gd name="connsiteX48" fmla="*/ 1005916 w 1456912"/>
              <a:gd name="connsiteY48" fmla="*/ 23666 h 556225"/>
              <a:gd name="connsiteX49" fmla="*/ 977728 w 1456912"/>
              <a:gd name="connsiteY49" fmla="*/ 51854 h 556225"/>
              <a:gd name="connsiteX50" fmla="*/ 977728 w 1456912"/>
              <a:gd name="connsiteY50" fmla="*/ 351869 h 556225"/>
              <a:gd name="connsiteX51" fmla="*/ 1189132 w 1456912"/>
              <a:gd name="connsiteY51" fmla="*/ 556226 h 556225"/>
              <a:gd name="connsiteX52" fmla="*/ 1217320 w 1456912"/>
              <a:gd name="connsiteY52" fmla="*/ 556226 h 556225"/>
              <a:gd name="connsiteX53" fmla="*/ 1456912 w 1456912"/>
              <a:gd name="connsiteY53" fmla="*/ 324566 h 556225"/>
              <a:gd name="connsiteX54" fmla="*/ 1456912 w 1456912"/>
              <a:gd name="connsiteY54" fmla="*/ 0 h 556225"/>
              <a:gd name="connsiteX55" fmla="*/ 1428724 w 1456912"/>
              <a:gd name="connsiteY55" fmla="*/ 0 h 556225"/>
              <a:gd name="connsiteX56" fmla="*/ 1189132 w 1456912"/>
              <a:gd name="connsiteY56" fmla="*/ 500322 h 556225"/>
              <a:gd name="connsiteX57" fmla="*/ 1344160 w 1456912"/>
              <a:gd name="connsiteY57" fmla="*/ 351400 h 556225"/>
              <a:gd name="connsiteX58" fmla="*/ 1344160 w 1456912"/>
              <a:gd name="connsiteY58" fmla="*/ 351400 h 556225"/>
              <a:gd name="connsiteX59" fmla="*/ 1344160 w 1456912"/>
              <a:gd name="connsiteY59" fmla="*/ 23666 h 556225"/>
              <a:gd name="connsiteX60" fmla="*/ 1315972 w 1456912"/>
              <a:gd name="connsiteY60" fmla="*/ 51854 h 556225"/>
              <a:gd name="connsiteX61" fmla="*/ 1315972 w 1456912"/>
              <a:gd name="connsiteY61" fmla="*/ 324153 h 556225"/>
              <a:gd name="connsiteX62" fmla="*/ 1217317 w 1456912"/>
              <a:gd name="connsiteY62" fmla="*/ 415761 h 556225"/>
              <a:gd name="connsiteX63" fmla="*/ 1118662 w 1456912"/>
              <a:gd name="connsiteY63" fmla="*/ 324153 h 556225"/>
              <a:gd name="connsiteX64" fmla="*/ 1118662 w 1456912"/>
              <a:gd name="connsiteY64" fmla="*/ 3 h 556225"/>
              <a:gd name="connsiteX65" fmla="*/ 1090474 w 1456912"/>
              <a:gd name="connsiteY65" fmla="*/ 3 h 556225"/>
              <a:gd name="connsiteX66" fmla="*/ 1090474 w 1456912"/>
              <a:gd name="connsiteY66" fmla="*/ 324156 h 556225"/>
              <a:gd name="connsiteX67" fmla="*/ 1217317 w 1456912"/>
              <a:gd name="connsiteY67" fmla="*/ 443951 h 556225"/>
              <a:gd name="connsiteX68" fmla="*/ 1304349 w 1456912"/>
              <a:gd name="connsiteY68" fmla="*/ 404889 h 556225"/>
              <a:gd name="connsiteX69" fmla="*/ 1304982 w 1456912"/>
              <a:gd name="connsiteY69" fmla="*/ 405720 h 556225"/>
              <a:gd name="connsiteX70" fmla="*/ 1189129 w 1456912"/>
              <a:gd name="connsiteY70" fmla="*/ 472139 h 556225"/>
              <a:gd name="connsiteX71" fmla="*/ 1062303 w 1456912"/>
              <a:gd name="connsiteY71" fmla="*/ 352344 h 556225"/>
              <a:gd name="connsiteX72" fmla="*/ 1062286 w 1456912"/>
              <a:gd name="connsiteY72" fmla="*/ 352344 h 556225"/>
              <a:gd name="connsiteX73" fmla="*/ 1062286 w 1456912"/>
              <a:gd name="connsiteY73" fmla="*/ 3 h 556225"/>
              <a:gd name="connsiteX74" fmla="*/ 1034098 w 1456912"/>
              <a:gd name="connsiteY74" fmla="*/ 3 h 556225"/>
              <a:gd name="connsiteX75" fmla="*/ 1034098 w 1456912"/>
              <a:gd name="connsiteY75" fmla="*/ 352341 h 556225"/>
              <a:gd name="connsiteX76" fmla="*/ 1034113 w 1456912"/>
              <a:gd name="connsiteY76" fmla="*/ 352341 h 556225"/>
              <a:gd name="connsiteX77" fmla="*/ 1189132 w 1456912"/>
              <a:gd name="connsiteY77" fmla="*/ 500322 h 556225"/>
              <a:gd name="connsiteX78" fmla="*/ 562774 w 1456912"/>
              <a:gd name="connsiteY78" fmla="*/ 366435 h 556225"/>
              <a:gd name="connsiteX79" fmla="*/ 491494 w 1456912"/>
              <a:gd name="connsiteY79" fmla="*/ 535557 h 556225"/>
              <a:gd name="connsiteX80" fmla="*/ 519684 w 1456912"/>
              <a:gd name="connsiteY80" fmla="*/ 535554 h 556225"/>
              <a:gd name="connsiteX81" fmla="*/ 519682 w 1456912"/>
              <a:gd name="connsiteY81" fmla="*/ 535557 h 556225"/>
              <a:gd name="connsiteX82" fmla="*/ 519684 w 1456912"/>
              <a:gd name="connsiteY82" fmla="*/ 535557 h 556225"/>
              <a:gd name="connsiteX83" fmla="*/ 555322 w 1456912"/>
              <a:gd name="connsiteY83" fmla="*/ 450996 h 556225"/>
              <a:gd name="connsiteX84" fmla="*/ 794138 w 1456912"/>
              <a:gd name="connsiteY84" fmla="*/ 450996 h 556225"/>
              <a:gd name="connsiteX85" fmla="*/ 829744 w 1456912"/>
              <a:gd name="connsiteY85" fmla="*/ 535557 h 556225"/>
              <a:gd name="connsiteX86" fmla="*/ 857932 w 1456912"/>
              <a:gd name="connsiteY86" fmla="*/ 535557 h 556225"/>
              <a:gd name="connsiteX87" fmla="*/ 810457 w 1456912"/>
              <a:gd name="connsiteY87" fmla="*/ 422808 h 556225"/>
              <a:gd name="connsiteX88" fmla="*/ 567200 w 1456912"/>
              <a:gd name="connsiteY88" fmla="*/ 422808 h 556225"/>
              <a:gd name="connsiteX89" fmla="*/ 579078 w 1456912"/>
              <a:gd name="connsiteY89" fmla="*/ 394620 h 556225"/>
              <a:gd name="connsiteX90" fmla="*/ 826776 w 1456912"/>
              <a:gd name="connsiteY90" fmla="*/ 394620 h 556225"/>
              <a:gd name="connsiteX91" fmla="*/ 886120 w 1456912"/>
              <a:gd name="connsiteY91" fmla="*/ 535557 h 556225"/>
              <a:gd name="connsiteX92" fmla="*/ 914308 w 1456912"/>
              <a:gd name="connsiteY92" fmla="*/ 535557 h 556225"/>
              <a:gd name="connsiteX93" fmla="*/ 843097 w 1456912"/>
              <a:gd name="connsiteY93" fmla="*/ 366435 h 556225"/>
              <a:gd name="connsiteX94" fmla="*/ 562774 w 1456912"/>
              <a:gd name="connsiteY94" fmla="*/ 366435 h 556225"/>
              <a:gd name="connsiteX95" fmla="*/ 604248 w 1456912"/>
              <a:gd name="connsiteY95" fmla="*/ 0 h 556225"/>
              <a:gd name="connsiteX96" fmla="*/ 397091 w 1456912"/>
              <a:gd name="connsiteY96" fmla="*/ 491374 h 556225"/>
              <a:gd name="connsiteX97" fmla="*/ 415032 w 1456912"/>
              <a:gd name="connsiteY97" fmla="*/ 515732 h 556225"/>
              <a:gd name="connsiteX98" fmla="*/ 632437 w 1456912"/>
              <a:gd name="connsiteY98" fmla="*/ 0 h 556225"/>
              <a:gd name="connsiteX99" fmla="*/ 604248 w 1456912"/>
              <a:gd name="connsiteY99" fmla="*/ 0 h 556225"/>
              <a:gd name="connsiteX100" fmla="*/ 716998 w 1456912"/>
              <a:gd name="connsiteY100" fmla="*/ 3 h 556225"/>
              <a:gd name="connsiteX101" fmla="*/ 934130 w 1456912"/>
              <a:gd name="connsiteY101" fmla="*/ 515735 h 556225"/>
              <a:gd name="connsiteX102" fmla="*/ 952028 w 1456912"/>
              <a:gd name="connsiteY102" fmla="*/ 491377 h 556225"/>
              <a:gd name="connsiteX103" fmla="*/ 745186 w 1456912"/>
              <a:gd name="connsiteY103" fmla="*/ 3 h 556225"/>
              <a:gd name="connsiteX104" fmla="*/ 716998 w 1456912"/>
              <a:gd name="connsiteY104" fmla="*/ 3 h 556225"/>
              <a:gd name="connsiteX105" fmla="*/ 546409 w 1456912"/>
              <a:gd name="connsiteY105" fmla="*/ 338247 h 556225"/>
              <a:gd name="connsiteX106" fmla="*/ 463042 w 1456912"/>
              <a:gd name="connsiteY106" fmla="*/ 535557 h 556225"/>
              <a:gd name="connsiteX107" fmla="*/ 434854 w 1456912"/>
              <a:gd name="connsiteY107" fmla="*/ 535557 h 556225"/>
              <a:gd name="connsiteX108" fmla="*/ 646528 w 1456912"/>
              <a:gd name="connsiteY108" fmla="*/ 33467 h 556225"/>
              <a:gd name="connsiteX109" fmla="*/ 762988 w 1456912"/>
              <a:gd name="connsiteY109" fmla="*/ 310059 h 556225"/>
              <a:gd name="connsiteX110" fmla="*/ 791176 w 1456912"/>
              <a:gd name="connsiteY110" fmla="*/ 310059 h 556225"/>
              <a:gd name="connsiteX111" fmla="*/ 660624 w 1456912"/>
              <a:gd name="connsiteY111" fmla="*/ 3 h 556225"/>
              <a:gd name="connsiteX112" fmla="*/ 688812 w 1456912"/>
              <a:gd name="connsiteY112" fmla="*/ 3 h 556225"/>
              <a:gd name="connsiteX113" fmla="*/ 831231 w 1456912"/>
              <a:gd name="connsiteY113" fmla="*/ 338247 h 556225"/>
              <a:gd name="connsiteX114" fmla="*/ 546409 w 1456912"/>
              <a:gd name="connsiteY114" fmla="*/ 338247 h 556225"/>
              <a:gd name="connsiteX115" fmla="*/ 674788 w 1456912"/>
              <a:gd name="connsiteY115" fmla="*/ 167531 h 556225"/>
              <a:gd name="connsiteX116" fmla="*/ 614721 w 1456912"/>
              <a:gd name="connsiteY116" fmla="*/ 310062 h 556225"/>
              <a:gd name="connsiteX117" fmla="*/ 734800 w 1456912"/>
              <a:gd name="connsiteY117" fmla="*/ 310062 h 556225"/>
              <a:gd name="connsiteX118" fmla="*/ 674788 w 1456912"/>
              <a:gd name="connsiteY118" fmla="*/ 167531 h 556225"/>
              <a:gd name="connsiteX119" fmla="*/ 558275 w 1456912"/>
              <a:gd name="connsiteY119" fmla="*/ 310062 h 556225"/>
              <a:gd name="connsiteX120" fmla="*/ 586535 w 1456912"/>
              <a:gd name="connsiteY120" fmla="*/ 310062 h 556225"/>
              <a:gd name="connsiteX121" fmla="*/ 660703 w 1456912"/>
              <a:gd name="connsiteY121" fmla="*/ 134072 h 556225"/>
              <a:gd name="connsiteX122" fmla="*/ 646588 w 1456912"/>
              <a:gd name="connsiteY122" fmla="*/ 100553 h 556225"/>
              <a:gd name="connsiteX123" fmla="*/ 558275 w 1456912"/>
              <a:gd name="connsiteY123" fmla="*/ 310062 h 5562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</a:cxnLst>
            <a:rect l="l" t="t" r="r" b="b"/>
            <a:pathLst>
              <a:path w="1456912" h="556225">
                <a:moveTo>
                  <a:pt x="0" y="51854"/>
                </a:moveTo>
                <a:lnTo>
                  <a:pt x="28188" y="23666"/>
                </a:lnTo>
                <a:lnTo>
                  <a:pt x="28188" y="535557"/>
                </a:lnTo>
                <a:lnTo>
                  <a:pt x="0" y="535557"/>
                </a:lnTo>
                <a:lnTo>
                  <a:pt x="0" y="51854"/>
                </a:lnTo>
                <a:close/>
                <a:moveTo>
                  <a:pt x="84564" y="28188"/>
                </a:moveTo>
                <a:lnTo>
                  <a:pt x="422811" y="28188"/>
                </a:lnTo>
                <a:lnTo>
                  <a:pt x="422811" y="0"/>
                </a:lnTo>
                <a:lnTo>
                  <a:pt x="56376" y="0"/>
                </a:lnTo>
                <a:lnTo>
                  <a:pt x="56376" y="338244"/>
                </a:lnTo>
                <a:lnTo>
                  <a:pt x="367711" y="338244"/>
                </a:lnTo>
                <a:lnTo>
                  <a:pt x="367711" y="310062"/>
                </a:lnTo>
                <a:lnTo>
                  <a:pt x="84564" y="310062"/>
                </a:lnTo>
                <a:lnTo>
                  <a:pt x="84564" y="28188"/>
                </a:lnTo>
                <a:close/>
                <a:moveTo>
                  <a:pt x="410152" y="253686"/>
                </a:moveTo>
                <a:lnTo>
                  <a:pt x="140937" y="253686"/>
                </a:lnTo>
                <a:lnTo>
                  <a:pt x="140937" y="140940"/>
                </a:lnTo>
                <a:lnTo>
                  <a:pt x="371171" y="140940"/>
                </a:lnTo>
                <a:lnTo>
                  <a:pt x="399359" y="112752"/>
                </a:lnTo>
                <a:lnTo>
                  <a:pt x="140937" y="112752"/>
                </a:lnTo>
                <a:lnTo>
                  <a:pt x="140937" y="84564"/>
                </a:lnTo>
                <a:lnTo>
                  <a:pt x="422811" y="84564"/>
                </a:lnTo>
                <a:lnTo>
                  <a:pt x="422811" y="56376"/>
                </a:lnTo>
                <a:lnTo>
                  <a:pt x="112749" y="56376"/>
                </a:lnTo>
                <a:lnTo>
                  <a:pt x="112749" y="281874"/>
                </a:lnTo>
                <a:lnTo>
                  <a:pt x="382334" y="281874"/>
                </a:lnTo>
                <a:lnTo>
                  <a:pt x="410152" y="253686"/>
                </a:lnTo>
                <a:close/>
                <a:moveTo>
                  <a:pt x="56376" y="535557"/>
                </a:moveTo>
                <a:lnTo>
                  <a:pt x="84564" y="535557"/>
                </a:lnTo>
                <a:lnTo>
                  <a:pt x="84564" y="394620"/>
                </a:lnTo>
                <a:lnTo>
                  <a:pt x="112752" y="394620"/>
                </a:lnTo>
                <a:lnTo>
                  <a:pt x="112752" y="511890"/>
                </a:lnTo>
                <a:lnTo>
                  <a:pt x="140940" y="483705"/>
                </a:lnTo>
                <a:lnTo>
                  <a:pt x="140940" y="394620"/>
                </a:lnTo>
                <a:lnTo>
                  <a:pt x="367714" y="394620"/>
                </a:lnTo>
                <a:lnTo>
                  <a:pt x="367714" y="366435"/>
                </a:lnTo>
                <a:lnTo>
                  <a:pt x="56376" y="366435"/>
                </a:lnTo>
                <a:lnTo>
                  <a:pt x="56376" y="535557"/>
                </a:lnTo>
                <a:close/>
                <a:moveTo>
                  <a:pt x="1428724" y="0"/>
                </a:moveTo>
                <a:lnTo>
                  <a:pt x="1428724" y="324156"/>
                </a:lnTo>
                <a:cubicBezTo>
                  <a:pt x="1428724" y="399584"/>
                  <a:pt x="1395069" y="464387"/>
                  <a:pt x="1316539" y="514089"/>
                </a:cubicBezTo>
                <a:lnTo>
                  <a:pt x="1315903" y="513258"/>
                </a:lnTo>
                <a:cubicBezTo>
                  <a:pt x="1367503" y="472336"/>
                  <a:pt x="1400536" y="419773"/>
                  <a:pt x="1400536" y="351869"/>
                </a:cubicBezTo>
                <a:lnTo>
                  <a:pt x="1400536" y="3"/>
                </a:lnTo>
                <a:lnTo>
                  <a:pt x="1372348" y="3"/>
                </a:lnTo>
                <a:lnTo>
                  <a:pt x="1372348" y="351400"/>
                </a:lnTo>
                <a:cubicBezTo>
                  <a:pt x="1372348" y="452590"/>
                  <a:pt x="1290318" y="528510"/>
                  <a:pt x="1189132" y="528510"/>
                </a:cubicBezTo>
                <a:cubicBezTo>
                  <a:pt x="1087946" y="528510"/>
                  <a:pt x="1005916" y="452587"/>
                  <a:pt x="1005916" y="351400"/>
                </a:cubicBezTo>
                <a:lnTo>
                  <a:pt x="1005916" y="23666"/>
                </a:lnTo>
                <a:lnTo>
                  <a:pt x="977728" y="51854"/>
                </a:lnTo>
                <a:lnTo>
                  <a:pt x="977728" y="351869"/>
                </a:lnTo>
                <a:cubicBezTo>
                  <a:pt x="977728" y="468625"/>
                  <a:pt x="1072376" y="556226"/>
                  <a:pt x="1189132" y="556226"/>
                </a:cubicBezTo>
                <a:cubicBezTo>
                  <a:pt x="1191834" y="556226"/>
                  <a:pt x="1217320" y="556226"/>
                  <a:pt x="1217320" y="556226"/>
                </a:cubicBezTo>
                <a:cubicBezTo>
                  <a:pt x="1332291" y="556226"/>
                  <a:pt x="1456912" y="471321"/>
                  <a:pt x="1456912" y="324566"/>
                </a:cubicBezTo>
                <a:cubicBezTo>
                  <a:pt x="1456912" y="324428"/>
                  <a:pt x="1456912" y="0"/>
                  <a:pt x="1456912" y="0"/>
                </a:cubicBezTo>
                <a:lnTo>
                  <a:pt x="1428724" y="0"/>
                </a:lnTo>
                <a:close/>
                <a:moveTo>
                  <a:pt x="1189132" y="500322"/>
                </a:moveTo>
                <a:cubicBezTo>
                  <a:pt x="1274706" y="500322"/>
                  <a:pt x="1344082" y="436948"/>
                  <a:pt x="1344160" y="351400"/>
                </a:cubicBezTo>
                <a:lnTo>
                  <a:pt x="1344160" y="351400"/>
                </a:lnTo>
                <a:lnTo>
                  <a:pt x="1344160" y="23666"/>
                </a:lnTo>
                <a:lnTo>
                  <a:pt x="1315972" y="51854"/>
                </a:lnTo>
                <a:lnTo>
                  <a:pt x="1315972" y="324153"/>
                </a:lnTo>
                <a:cubicBezTo>
                  <a:pt x="1315972" y="378637"/>
                  <a:pt x="1271801" y="415761"/>
                  <a:pt x="1217317" y="415761"/>
                </a:cubicBezTo>
                <a:cubicBezTo>
                  <a:pt x="1162833" y="415761"/>
                  <a:pt x="1118662" y="378637"/>
                  <a:pt x="1118662" y="324153"/>
                </a:cubicBezTo>
                <a:lnTo>
                  <a:pt x="1118662" y="3"/>
                </a:lnTo>
                <a:lnTo>
                  <a:pt x="1090474" y="3"/>
                </a:lnTo>
                <a:lnTo>
                  <a:pt x="1090474" y="324156"/>
                </a:lnTo>
                <a:cubicBezTo>
                  <a:pt x="1090474" y="394209"/>
                  <a:pt x="1147264" y="443951"/>
                  <a:pt x="1217317" y="443951"/>
                </a:cubicBezTo>
                <a:cubicBezTo>
                  <a:pt x="1245962" y="443951"/>
                  <a:pt x="1280732" y="429800"/>
                  <a:pt x="1304349" y="404889"/>
                </a:cubicBezTo>
                <a:lnTo>
                  <a:pt x="1304982" y="405720"/>
                </a:lnTo>
                <a:cubicBezTo>
                  <a:pt x="1282838" y="446784"/>
                  <a:pt x="1241907" y="472139"/>
                  <a:pt x="1189129" y="472139"/>
                </a:cubicBezTo>
                <a:cubicBezTo>
                  <a:pt x="1119507" y="472139"/>
                  <a:pt x="1062992" y="421734"/>
                  <a:pt x="1062303" y="352344"/>
                </a:cubicBezTo>
                <a:lnTo>
                  <a:pt x="1062286" y="352344"/>
                </a:lnTo>
                <a:lnTo>
                  <a:pt x="1062286" y="3"/>
                </a:lnTo>
                <a:lnTo>
                  <a:pt x="1034098" y="3"/>
                </a:lnTo>
                <a:lnTo>
                  <a:pt x="1034098" y="352341"/>
                </a:lnTo>
                <a:lnTo>
                  <a:pt x="1034113" y="352341"/>
                </a:lnTo>
                <a:cubicBezTo>
                  <a:pt x="1034703" y="437411"/>
                  <a:pt x="1103877" y="500322"/>
                  <a:pt x="1189132" y="500322"/>
                </a:cubicBezTo>
                <a:close/>
                <a:moveTo>
                  <a:pt x="562774" y="366435"/>
                </a:moveTo>
                <a:lnTo>
                  <a:pt x="491494" y="535557"/>
                </a:lnTo>
                <a:lnTo>
                  <a:pt x="519684" y="535554"/>
                </a:lnTo>
                <a:lnTo>
                  <a:pt x="519682" y="535557"/>
                </a:lnTo>
                <a:lnTo>
                  <a:pt x="519684" y="535557"/>
                </a:lnTo>
                <a:lnTo>
                  <a:pt x="555322" y="450996"/>
                </a:lnTo>
                <a:lnTo>
                  <a:pt x="794138" y="450996"/>
                </a:lnTo>
                <a:lnTo>
                  <a:pt x="829744" y="535557"/>
                </a:lnTo>
                <a:lnTo>
                  <a:pt x="857932" y="535557"/>
                </a:lnTo>
                <a:lnTo>
                  <a:pt x="810457" y="422808"/>
                </a:lnTo>
                <a:lnTo>
                  <a:pt x="567200" y="422808"/>
                </a:lnTo>
                <a:lnTo>
                  <a:pt x="579078" y="394620"/>
                </a:lnTo>
                <a:lnTo>
                  <a:pt x="826776" y="394620"/>
                </a:lnTo>
                <a:lnTo>
                  <a:pt x="886120" y="535557"/>
                </a:lnTo>
                <a:lnTo>
                  <a:pt x="914308" y="535557"/>
                </a:lnTo>
                <a:lnTo>
                  <a:pt x="843097" y="366435"/>
                </a:lnTo>
                <a:lnTo>
                  <a:pt x="562774" y="366435"/>
                </a:lnTo>
                <a:close/>
                <a:moveTo>
                  <a:pt x="604248" y="0"/>
                </a:moveTo>
                <a:lnTo>
                  <a:pt x="397091" y="491374"/>
                </a:lnTo>
                <a:lnTo>
                  <a:pt x="415032" y="515732"/>
                </a:lnTo>
                <a:lnTo>
                  <a:pt x="632437" y="0"/>
                </a:lnTo>
                <a:lnTo>
                  <a:pt x="604248" y="0"/>
                </a:lnTo>
                <a:close/>
                <a:moveTo>
                  <a:pt x="716998" y="3"/>
                </a:moveTo>
                <a:lnTo>
                  <a:pt x="934130" y="515735"/>
                </a:lnTo>
                <a:lnTo>
                  <a:pt x="952028" y="491377"/>
                </a:lnTo>
                <a:lnTo>
                  <a:pt x="745186" y="3"/>
                </a:lnTo>
                <a:lnTo>
                  <a:pt x="716998" y="3"/>
                </a:lnTo>
                <a:close/>
                <a:moveTo>
                  <a:pt x="546409" y="338247"/>
                </a:moveTo>
                <a:lnTo>
                  <a:pt x="463042" y="535557"/>
                </a:lnTo>
                <a:lnTo>
                  <a:pt x="434854" y="535557"/>
                </a:lnTo>
                <a:lnTo>
                  <a:pt x="646528" y="33467"/>
                </a:lnTo>
                <a:lnTo>
                  <a:pt x="762988" y="310059"/>
                </a:lnTo>
                <a:lnTo>
                  <a:pt x="791176" y="310059"/>
                </a:lnTo>
                <a:lnTo>
                  <a:pt x="660624" y="3"/>
                </a:lnTo>
                <a:lnTo>
                  <a:pt x="688812" y="3"/>
                </a:lnTo>
                <a:lnTo>
                  <a:pt x="831231" y="338247"/>
                </a:lnTo>
                <a:lnTo>
                  <a:pt x="546409" y="338247"/>
                </a:lnTo>
                <a:close/>
                <a:moveTo>
                  <a:pt x="674788" y="167531"/>
                </a:moveTo>
                <a:lnTo>
                  <a:pt x="614721" y="310062"/>
                </a:lnTo>
                <a:lnTo>
                  <a:pt x="734800" y="310062"/>
                </a:lnTo>
                <a:lnTo>
                  <a:pt x="674788" y="167531"/>
                </a:lnTo>
                <a:close/>
                <a:moveTo>
                  <a:pt x="558275" y="310062"/>
                </a:moveTo>
                <a:lnTo>
                  <a:pt x="586535" y="310062"/>
                </a:lnTo>
                <a:lnTo>
                  <a:pt x="660703" y="134072"/>
                </a:lnTo>
                <a:lnTo>
                  <a:pt x="646588" y="100553"/>
                </a:lnTo>
                <a:lnTo>
                  <a:pt x="558275" y="310062"/>
                </a:lnTo>
                <a:close/>
              </a:path>
            </a:pathLst>
          </a:custGeom>
          <a:solidFill>
            <a:schemeClr val="tx1"/>
          </a:solidFill>
          <a:ln w="2892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146" name="Rechteck 145">
            <a:extLst>
              <a:ext uri="{FF2B5EF4-FFF2-40B4-BE49-F238E27FC236}">
                <a16:creationId xmlns:a16="http://schemas.microsoft.com/office/drawing/2014/main" id="{EBE8C122-6535-4868-8094-58D57E3EC4E1}"/>
              </a:ext>
            </a:extLst>
          </p:cNvPr>
          <p:cNvSpPr/>
          <p:nvPr userDrawn="1"/>
        </p:nvSpPr>
        <p:spPr>
          <a:xfrm>
            <a:off x="518400" y="1413835"/>
            <a:ext cx="11676062" cy="72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114" name="Grafik 113">
            <a:extLst>
              <a:ext uri="{FF2B5EF4-FFF2-40B4-BE49-F238E27FC236}">
                <a16:creationId xmlns:a16="http://schemas.microsoft.com/office/drawing/2014/main" id="{5A5975E2-80E6-4A36-83FC-E1D0A2B54E1C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509578" y="293687"/>
            <a:ext cx="2604169" cy="556887"/>
          </a:xfrm>
          <a:prstGeom prst="rect">
            <a:avLst/>
          </a:prstGeom>
        </p:spPr>
      </p:pic>
      <p:sp>
        <p:nvSpPr>
          <p:cNvPr id="45" name="Textplatzhalter 64">
            <a:extLst>
              <a:ext uri="{FF2B5EF4-FFF2-40B4-BE49-F238E27FC236}">
                <a16:creationId xmlns:a16="http://schemas.microsoft.com/office/drawing/2014/main" id="{40B8B35A-8E02-401D-BEA1-2F41C74672B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8317" y="2647985"/>
            <a:ext cx="11157745" cy="1562031"/>
          </a:xfrm>
        </p:spPr>
        <p:txBody>
          <a:bodyPr vert="horz" wrap="square" lIns="0" tIns="0" rIns="360000" bIns="0" rtlCol="0" anchor="ctr" anchorCtr="0">
            <a:spAutoFit/>
          </a:bodyPr>
          <a:lstStyle>
            <a:lvl1pPr>
              <a:spcAft>
                <a:spcPts val="0"/>
              </a:spcAft>
              <a:defRPr lang="de-DE" sz="4800" b="1" dirty="0" smtClean="0">
                <a:latin typeface="+mj-lt"/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de-DE" dirty="0"/>
              <a:t>Vielen Dank</a:t>
            </a:r>
            <a:br>
              <a:rPr lang="de-DE" dirty="0"/>
            </a:br>
            <a:r>
              <a:rPr lang="de-DE" dirty="0"/>
              <a:t>für Ihre Aufmerksamkeit!</a:t>
            </a:r>
          </a:p>
        </p:txBody>
      </p:sp>
    </p:spTree>
    <p:extLst>
      <p:ext uri="{BB962C8B-B14F-4D97-AF65-F5344CB8AC3E}">
        <p14:creationId xmlns:p14="http://schemas.microsoft.com/office/powerpoint/2010/main" val="93265233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 | Lehrstuhl">
    <p:bg bwMode="black"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0" name="Bildplatzhalter 6">
            <a:extLst>
              <a:ext uri="{FF2B5EF4-FFF2-40B4-BE49-F238E27FC236}">
                <a16:creationId xmlns:a16="http://schemas.microsoft.com/office/drawing/2014/main" id="{0D2DDB25-9CAC-48C8-BC60-CEBC2F4025E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86" y="1627592"/>
            <a:ext cx="12192000" cy="5229226"/>
          </a:xfrm>
          <a:prstGeom prst="rect">
            <a:avLst/>
          </a:prstGeom>
        </p:spPr>
      </p:pic>
      <p:sp>
        <p:nvSpPr>
          <p:cNvPr id="203" name="Rechteck 202">
            <a:extLst>
              <a:ext uri="{FF2B5EF4-FFF2-40B4-BE49-F238E27FC236}">
                <a16:creationId xmlns:a16="http://schemas.microsoft.com/office/drawing/2014/main" id="{D42AF6BC-7116-433D-B07A-EB33A00DD47E}"/>
              </a:ext>
            </a:extLst>
          </p:cNvPr>
          <p:cNvSpPr/>
          <p:nvPr userDrawn="1"/>
        </p:nvSpPr>
        <p:spPr bwMode="invGray">
          <a:xfrm>
            <a:off x="0" y="1628775"/>
            <a:ext cx="12192000" cy="5229225"/>
          </a:xfrm>
          <a:prstGeom prst="rect">
            <a:avLst/>
          </a:prstGeom>
          <a:gradFill>
            <a:gsLst>
              <a:gs pos="50000">
                <a:schemeClr val="accent3">
                  <a:alpha val="50000"/>
                </a:schemeClr>
              </a:gs>
              <a:gs pos="5000">
                <a:schemeClr val="accent3"/>
              </a:gs>
              <a:gs pos="100000">
                <a:schemeClr val="accent3">
                  <a:alpha val="20000"/>
                </a:scheme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ctr"/>
          <a:lstStyle/>
          <a:p>
            <a:pPr marL="0" marR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8" name="Freihandform: Form 57">
            <a:extLst>
              <a:ext uri="{FF2B5EF4-FFF2-40B4-BE49-F238E27FC236}">
                <a16:creationId xmlns:a16="http://schemas.microsoft.com/office/drawing/2014/main" id="{1A7F7BEE-9A4B-44B2-960F-97720F4BC3DA}"/>
              </a:ext>
            </a:extLst>
          </p:cNvPr>
          <p:cNvSpPr/>
          <p:nvPr userDrawn="1"/>
        </p:nvSpPr>
        <p:spPr>
          <a:xfrm>
            <a:off x="10056938" y="300703"/>
            <a:ext cx="1619125" cy="618155"/>
          </a:xfrm>
          <a:custGeom>
            <a:avLst/>
            <a:gdLst>
              <a:gd name="connsiteX0" fmla="*/ 0 w 1456912"/>
              <a:gd name="connsiteY0" fmla="*/ 51854 h 556225"/>
              <a:gd name="connsiteX1" fmla="*/ 28188 w 1456912"/>
              <a:gd name="connsiteY1" fmla="*/ 23666 h 556225"/>
              <a:gd name="connsiteX2" fmla="*/ 28188 w 1456912"/>
              <a:gd name="connsiteY2" fmla="*/ 535557 h 556225"/>
              <a:gd name="connsiteX3" fmla="*/ 0 w 1456912"/>
              <a:gd name="connsiteY3" fmla="*/ 535557 h 556225"/>
              <a:gd name="connsiteX4" fmla="*/ 0 w 1456912"/>
              <a:gd name="connsiteY4" fmla="*/ 51854 h 556225"/>
              <a:gd name="connsiteX5" fmla="*/ 84564 w 1456912"/>
              <a:gd name="connsiteY5" fmla="*/ 28188 h 556225"/>
              <a:gd name="connsiteX6" fmla="*/ 422811 w 1456912"/>
              <a:gd name="connsiteY6" fmla="*/ 28188 h 556225"/>
              <a:gd name="connsiteX7" fmla="*/ 422811 w 1456912"/>
              <a:gd name="connsiteY7" fmla="*/ 0 h 556225"/>
              <a:gd name="connsiteX8" fmla="*/ 56376 w 1456912"/>
              <a:gd name="connsiteY8" fmla="*/ 0 h 556225"/>
              <a:gd name="connsiteX9" fmla="*/ 56376 w 1456912"/>
              <a:gd name="connsiteY9" fmla="*/ 338244 h 556225"/>
              <a:gd name="connsiteX10" fmla="*/ 367711 w 1456912"/>
              <a:gd name="connsiteY10" fmla="*/ 338244 h 556225"/>
              <a:gd name="connsiteX11" fmla="*/ 367711 w 1456912"/>
              <a:gd name="connsiteY11" fmla="*/ 310062 h 556225"/>
              <a:gd name="connsiteX12" fmla="*/ 84564 w 1456912"/>
              <a:gd name="connsiteY12" fmla="*/ 310062 h 556225"/>
              <a:gd name="connsiteX13" fmla="*/ 84564 w 1456912"/>
              <a:gd name="connsiteY13" fmla="*/ 28188 h 556225"/>
              <a:gd name="connsiteX14" fmla="*/ 410152 w 1456912"/>
              <a:gd name="connsiteY14" fmla="*/ 253686 h 556225"/>
              <a:gd name="connsiteX15" fmla="*/ 140937 w 1456912"/>
              <a:gd name="connsiteY15" fmla="*/ 253686 h 556225"/>
              <a:gd name="connsiteX16" fmla="*/ 140937 w 1456912"/>
              <a:gd name="connsiteY16" fmla="*/ 140940 h 556225"/>
              <a:gd name="connsiteX17" fmla="*/ 371171 w 1456912"/>
              <a:gd name="connsiteY17" fmla="*/ 140940 h 556225"/>
              <a:gd name="connsiteX18" fmla="*/ 399359 w 1456912"/>
              <a:gd name="connsiteY18" fmla="*/ 112752 h 556225"/>
              <a:gd name="connsiteX19" fmla="*/ 140937 w 1456912"/>
              <a:gd name="connsiteY19" fmla="*/ 112752 h 556225"/>
              <a:gd name="connsiteX20" fmla="*/ 140937 w 1456912"/>
              <a:gd name="connsiteY20" fmla="*/ 84564 h 556225"/>
              <a:gd name="connsiteX21" fmla="*/ 422811 w 1456912"/>
              <a:gd name="connsiteY21" fmla="*/ 84564 h 556225"/>
              <a:gd name="connsiteX22" fmla="*/ 422811 w 1456912"/>
              <a:gd name="connsiteY22" fmla="*/ 56376 h 556225"/>
              <a:gd name="connsiteX23" fmla="*/ 112749 w 1456912"/>
              <a:gd name="connsiteY23" fmla="*/ 56376 h 556225"/>
              <a:gd name="connsiteX24" fmla="*/ 112749 w 1456912"/>
              <a:gd name="connsiteY24" fmla="*/ 281874 h 556225"/>
              <a:gd name="connsiteX25" fmla="*/ 382334 w 1456912"/>
              <a:gd name="connsiteY25" fmla="*/ 281874 h 556225"/>
              <a:gd name="connsiteX26" fmla="*/ 410152 w 1456912"/>
              <a:gd name="connsiteY26" fmla="*/ 253686 h 556225"/>
              <a:gd name="connsiteX27" fmla="*/ 56376 w 1456912"/>
              <a:gd name="connsiteY27" fmla="*/ 535557 h 556225"/>
              <a:gd name="connsiteX28" fmla="*/ 84564 w 1456912"/>
              <a:gd name="connsiteY28" fmla="*/ 535557 h 556225"/>
              <a:gd name="connsiteX29" fmla="*/ 84564 w 1456912"/>
              <a:gd name="connsiteY29" fmla="*/ 394620 h 556225"/>
              <a:gd name="connsiteX30" fmla="*/ 112752 w 1456912"/>
              <a:gd name="connsiteY30" fmla="*/ 394620 h 556225"/>
              <a:gd name="connsiteX31" fmla="*/ 112752 w 1456912"/>
              <a:gd name="connsiteY31" fmla="*/ 511890 h 556225"/>
              <a:gd name="connsiteX32" fmla="*/ 140940 w 1456912"/>
              <a:gd name="connsiteY32" fmla="*/ 483705 h 556225"/>
              <a:gd name="connsiteX33" fmla="*/ 140940 w 1456912"/>
              <a:gd name="connsiteY33" fmla="*/ 394620 h 556225"/>
              <a:gd name="connsiteX34" fmla="*/ 367714 w 1456912"/>
              <a:gd name="connsiteY34" fmla="*/ 394620 h 556225"/>
              <a:gd name="connsiteX35" fmla="*/ 367714 w 1456912"/>
              <a:gd name="connsiteY35" fmla="*/ 366435 h 556225"/>
              <a:gd name="connsiteX36" fmla="*/ 56376 w 1456912"/>
              <a:gd name="connsiteY36" fmla="*/ 366435 h 556225"/>
              <a:gd name="connsiteX37" fmla="*/ 56376 w 1456912"/>
              <a:gd name="connsiteY37" fmla="*/ 535557 h 556225"/>
              <a:gd name="connsiteX38" fmla="*/ 1428724 w 1456912"/>
              <a:gd name="connsiteY38" fmla="*/ 0 h 556225"/>
              <a:gd name="connsiteX39" fmla="*/ 1428724 w 1456912"/>
              <a:gd name="connsiteY39" fmla="*/ 324156 h 556225"/>
              <a:gd name="connsiteX40" fmla="*/ 1316539 w 1456912"/>
              <a:gd name="connsiteY40" fmla="*/ 514089 h 556225"/>
              <a:gd name="connsiteX41" fmla="*/ 1315903 w 1456912"/>
              <a:gd name="connsiteY41" fmla="*/ 513258 h 556225"/>
              <a:gd name="connsiteX42" fmla="*/ 1400536 w 1456912"/>
              <a:gd name="connsiteY42" fmla="*/ 351869 h 556225"/>
              <a:gd name="connsiteX43" fmla="*/ 1400536 w 1456912"/>
              <a:gd name="connsiteY43" fmla="*/ 3 h 556225"/>
              <a:gd name="connsiteX44" fmla="*/ 1372348 w 1456912"/>
              <a:gd name="connsiteY44" fmla="*/ 3 h 556225"/>
              <a:gd name="connsiteX45" fmla="*/ 1372348 w 1456912"/>
              <a:gd name="connsiteY45" fmla="*/ 351400 h 556225"/>
              <a:gd name="connsiteX46" fmla="*/ 1189132 w 1456912"/>
              <a:gd name="connsiteY46" fmla="*/ 528510 h 556225"/>
              <a:gd name="connsiteX47" fmla="*/ 1005916 w 1456912"/>
              <a:gd name="connsiteY47" fmla="*/ 351400 h 556225"/>
              <a:gd name="connsiteX48" fmla="*/ 1005916 w 1456912"/>
              <a:gd name="connsiteY48" fmla="*/ 23666 h 556225"/>
              <a:gd name="connsiteX49" fmla="*/ 977728 w 1456912"/>
              <a:gd name="connsiteY49" fmla="*/ 51854 h 556225"/>
              <a:gd name="connsiteX50" fmla="*/ 977728 w 1456912"/>
              <a:gd name="connsiteY50" fmla="*/ 351869 h 556225"/>
              <a:gd name="connsiteX51" fmla="*/ 1189132 w 1456912"/>
              <a:gd name="connsiteY51" fmla="*/ 556226 h 556225"/>
              <a:gd name="connsiteX52" fmla="*/ 1217320 w 1456912"/>
              <a:gd name="connsiteY52" fmla="*/ 556226 h 556225"/>
              <a:gd name="connsiteX53" fmla="*/ 1456912 w 1456912"/>
              <a:gd name="connsiteY53" fmla="*/ 324566 h 556225"/>
              <a:gd name="connsiteX54" fmla="*/ 1456912 w 1456912"/>
              <a:gd name="connsiteY54" fmla="*/ 0 h 556225"/>
              <a:gd name="connsiteX55" fmla="*/ 1428724 w 1456912"/>
              <a:gd name="connsiteY55" fmla="*/ 0 h 556225"/>
              <a:gd name="connsiteX56" fmla="*/ 1189132 w 1456912"/>
              <a:gd name="connsiteY56" fmla="*/ 500322 h 556225"/>
              <a:gd name="connsiteX57" fmla="*/ 1344160 w 1456912"/>
              <a:gd name="connsiteY57" fmla="*/ 351400 h 556225"/>
              <a:gd name="connsiteX58" fmla="*/ 1344160 w 1456912"/>
              <a:gd name="connsiteY58" fmla="*/ 351400 h 556225"/>
              <a:gd name="connsiteX59" fmla="*/ 1344160 w 1456912"/>
              <a:gd name="connsiteY59" fmla="*/ 23666 h 556225"/>
              <a:gd name="connsiteX60" fmla="*/ 1315972 w 1456912"/>
              <a:gd name="connsiteY60" fmla="*/ 51854 h 556225"/>
              <a:gd name="connsiteX61" fmla="*/ 1315972 w 1456912"/>
              <a:gd name="connsiteY61" fmla="*/ 324153 h 556225"/>
              <a:gd name="connsiteX62" fmla="*/ 1217317 w 1456912"/>
              <a:gd name="connsiteY62" fmla="*/ 415761 h 556225"/>
              <a:gd name="connsiteX63" fmla="*/ 1118662 w 1456912"/>
              <a:gd name="connsiteY63" fmla="*/ 324153 h 556225"/>
              <a:gd name="connsiteX64" fmla="*/ 1118662 w 1456912"/>
              <a:gd name="connsiteY64" fmla="*/ 3 h 556225"/>
              <a:gd name="connsiteX65" fmla="*/ 1090474 w 1456912"/>
              <a:gd name="connsiteY65" fmla="*/ 3 h 556225"/>
              <a:gd name="connsiteX66" fmla="*/ 1090474 w 1456912"/>
              <a:gd name="connsiteY66" fmla="*/ 324156 h 556225"/>
              <a:gd name="connsiteX67" fmla="*/ 1217317 w 1456912"/>
              <a:gd name="connsiteY67" fmla="*/ 443951 h 556225"/>
              <a:gd name="connsiteX68" fmla="*/ 1304349 w 1456912"/>
              <a:gd name="connsiteY68" fmla="*/ 404889 h 556225"/>
              <a:gd name="connsiteX69" fmla="*/ 1304982 w 1456912"/>
              <a:gd name="connsiteY69" fmla="*/ 405720 h 556225"/>
              <a:gd name="connsiteX70" fmla="*/ 1189129 w 1456912"/>
              <a:gd name="connsiteY70" fmla="*/ 472139 h 556225"/>
              <a:gd name="connsiteX71" fmla="*/ 1062303 w 1456912"/>
              <a:gd name="connsiteY71" fmla="*/ 352344 h 556225"/>
              <a:gd name="connsiteX72" fmla="*/ 1062286 w 1456912"/>
              <a:gd name="connsiteY72" fmla="*/ 352344 h 556225"/>
              <a:gd name="connsiteX73" fmla="*/ 1062286 w 1456912"/>
              <a:gd name="connsiteY73" fmla="*/ 3 h 556225"/>
              <a:gd name="connsiteX74" fmla="*/ 1034098 w 1456912"/>
              <a:gd name="connsiteY74" fmla="*/ 3 h 556225"/>
              <a:gd name="connsiteX75" fmla="*/ 1034098 w 1456912"/>
              <a:gd name="connsiteY75" fmla="*/ 352341 h 556225"/>
              <a:gd name="connsiteX76" fmla="*/ 1034113 w 1456912"/>
              <a:gd name="connsiteY76" fmla="*/ 352341 h 556225"/>
              <a:gd name="connsiteX77" fmla="*/ 1189132 w 1456912"/>
              <a:gd name="connsiteY77" fmla="*/ 500322 h 556225"/>
              <a:gd name="connsiteX78" fmla="*/ 562774 w 1456912"/>
              <a:gd name="connsiteY78" fmla="*/ 366435 h 556225"/>
              <a:gd name="connsiteX79" fmla="*/ 491494 w 1456912"/>
              <a:gd name="connsiteY79" fmla="*/ 535557 h 556225"/>
              <a:gd name="connsiteX80" fmla="*/ 519684 w 1456912"/>
              <a:gd name="connsiteY80" fmla="*/ 535554 h 556225"/>
              <a:gd name="connsiteX81" fmla="*/ 519682 w 1456912"/>
              <a:gd name="connsiteY81" fmla="*/ 535557 h 556225"/>
              <a:gd name="connsiteX82" fmla="*/ 519684 w 1456912"/>
              <a:gd name="connsiteY82" fmla="*/ 535557 h 556225"/>
              <a:gd name="connsiteX83" fmla="*/ 555322 w 1456912"/>
              <a:gd name="connsiteY83" fmla="*/ 450996 h 556225"/>
              <a:gd name="connsiteX84" fmla="*/ 794138 w 1456912"/>
              <a:gd name="connsiteY84" fmla="*/ 450996 h 556225"/>
              <a:gd name="connsiteX85" fmla="*/ 829744 w 1456912"/>
              <a:gd name="connsiteY85" fmla="*/ 535557 h 556225"/>
              <a:gd name="connsiteX86" fmla="*/ 857932 w 1456912"/>
              <a:gd name="connsiteY86" fmla="*/ 535557 h 556225"/>
              <a:gd name="connsiteX87" fmla="*/ 810457 w 1456912"/>
              <a:gd name="connsiteY87" fmla="*/ 422808 h 556225"/>
              <a:gd name="connsiteX88" fmla="*/ 567200 w 1456912"/>
              <a:gd name="connsiteY88" fmla="*/ 422808 h 556225"/>
              <a:gd name="connsiteX89" fmla="*/ 579078 w 1456912"/>
              <a:gd name="connsiteY89" fmla="*/ 394620 h 556225"/>
              <a:gd name="connsiteX90" fmla="*/ 826776 w 1456912"/>
              <a:gd name="connsiteY90" fmla="*/ 394620 h 556225"/>
              <a:gd name="connsiteX91" fmla="*/ 886120 w 1456912"/>
              <a:gd name="connsiteY91" fmla="*/ 535557 h 556225"/>
              <a:gd name="connsiteX92" fmla="*/ 914308 w 1456912"/>
              <a:gd name="connsiteY92" fmla="*/ 535557 h 556225"/>
              <a:gd name="connsiteX93" fmla="*/ 843097 w 1456912"/>
              <a:gd name="connsiteY93" fmla="*/ 366435 h 556225"/>
              <a:gd name="connsiteX94" fmla="*/ 562774 w 1456912"/>
              <a:gd name="connsiteY94" fmla="*/ 366435 h 556225"/>
              <a:gd name="connsiteX95" fmla="*/ 604248 w 1456912"/>
              <a:gd name="connsiteY95" fmla="*/ 0 h 556225"/>
              <a:gd name="connsiteX96" fmla="*/ 397091 w 1456912"/>
              <a:gd name="connsiteY96" fmla="*/ 491374 h 556225"/>
              <a:gd name="connsiteX97" fmla="*/ 415032 w 1456912"/>
              <a:gd name="connsiteY97" fmla="*/ 515732 h 556225"/>
              <a:gd name="connsiteX98" fmla="*/ 632437 w 1456912"/>
              <a:gd name="connsiteY98" fmla="*/ 0 h 556225"/>
              <a:gd name="connsiteX99" fmla="*/ 604248 w 1456912"/>
              <a:gd name="connsiteY99" fmla="*/ 0 h 556225"/>
              <a:gd name="connsiteX100" fmla="*/ 716998 w 1456912"/>
              <a:gd name="connsiteY100" fmla="*/ 3 h 556225"/>
              <a:gd name="connsiteX101" fmla="*/ 934130 w 1456912"/>
              <a:gd name="connsiteY101" fmla="*/ 515735 h 556225"/>
              <a:gd name="connsiteX102" fmla="*/ 952028 w 1456912"/>
              <a:gd name="connsiteY102" fmla="*/ 491377 h 556225"/>
              <a:gd name="connsiteX103" fmla="*/ 745186 w 1456912"/>
              <a:gd name="connsiteY103" fmla="*/ 3 h 556225"/>
              <a:gd name="connsiteX104" fmla="*/ 716998 w 1456912"/>
              <a:gd name="connsiteY104" fmla="*/ 3 h 556225"/>
              <a:gd name="connsiteX105" fmla="*/ 546409 w 1456912"/>
              <a:gd name="connsiteY105" fmla="*/ 338247 h 556225"/>
              <a:gd name="connsiteX106" fmla="*/ 463042 w 1456912"/>
              <a:gd name="connsiteY106" fmla="*/ 535557 h 556225"/>
              <a:gd name="connsiteX107" fmla="*/ 434854 w 1456912"/>
              <a:gd name="connsiteY107" fmla="*/ 535557 h 556225"/>
              <a:gd name="connsiteX108" fmla="*/ 646528 w 1456912"/>
              <a:gd name="connsiteY108" fmla="*/ 33467 h 556225"/>
              <a:gd name="connsiteX109" fmla="*/ 762988 w 1456912"/>
              <a:gd name="connsiteY109" fmla="*/ 310059 h 556225"/>
              <a:gd name="connsiteX110" fmla="*/ 791176 w 1456912"/>
              <a:gd name="connsiteY110" fmla="*/ 310059 h 556225"/>
              <a:gd name="connsiteX111" fmla="*/ 660624 w 1456912"/>
              <a:gd name="connsiteY111" fmla="*/ 3 h 556225"/>
              <a:gd name="connsiteX112" fmla="*/ 688812 w 1456912"/>
              <a:gd name="connsiteY112" fmla="*/ 3 h 556225"/>
              <a:gd name="connsiteX113" fmla="*/ 831231 w 1456912"/>
              <a:gd name="connsiteY113" fmla="*/ 338247 h 556225"/>
              <a:gd name="connsiteX114" fmla="*/ 546409 w 1456912"/>
              <a:gd name="connsiteY114" fmla="*/ 338247 h 556225"/>
              <a:gd name="connsiteX115" fmla="*/ 674788 w 1456912"/>
              <a:gd name="connsiteY115" fmla="*/ 167531 h 556225"/>
              <a:gd name="connsiteX116" fmla="*/ 614721 w 1456912"/>
              <a:gd name="connsiteY116" fmla="*/ 310062 h 556225"/>
              <a:gd name="connsiteX117" fmla="*/ 734800 w 1456912"/>
              <a:gd name="connsiteY117" fmla="*/ 310062 h 556225"/>
              <a:gd name="connsiteX118" fmla="*/ 674788 w 1456912"/>
              <a:gd name="connsiteY118" fmla="*/ 167531 h 556225"/>
              <a:gd name="connsiteX119" fmla="*/ 558275 w 1456912"/>
              <a:gd name="connsiteY119" fmla="*/ 310062 h 556225"/>
              <a:gd name="connsiteX120" fmla="*/ 586535 w 1456912"/>
              <a:gd name="connsiteY120" fmla="*/ 310062 h 556225"/>
              <a:gd name="connsiteX121" fmla="*/ 660703 w 1456912"/>
              <a:gd name="connsiteY121" fmla="*/ 134072 h 556225"/>
              <a:gd name="connsiteX122" fmla="*/ 646588 w 1456912"/>
              <a:gd name="connsiteY122" fmla="*/ 100553 h 556225"/>
              <a:gd name="connsiteX123" fmla="*/ 558275 w 1456912"/>
              <a:gd name="connsiteY123" fmla="*/ 310062 h 5562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</a:cxnLst>
            <a:rect l="l" t="t" r="r" b="b"/>
            <a:pathLst>
              <a:path w="1456912" h="556225">
                <a:moveTo>
                  <a:pt x="0" y="51854"/>
                </a:moveTo>
                <a:lnTo>
                  <a:pt x="28188" y="23666"/>
                </a:lnTo>
                <a:lnTo>
                  <a:pt x="28188" y="535557"/>
                </a:lnTo>
                <a:lnTo>
                  <a:pt x="0" y="535557"/>
                </a:lnTo>
                <a:lnTo>
                  <a:pt x="0" y="51854"/>
                </a:lnTo>
                <a:close/>
                <a:moveTo>
                  <a:pt x="84564" y="28188"/>
                </a:moveTo>
                <a:lnTo>
                  <a:pt x="422811" y="28188"/>
                </a:lnTo>
                <a:lnTo>
                  <a:pt x="422811" y="0"/>
                </a:lnTo>
                <a:lnTo>
                  <a:pt x="56376" y="0"/>
                </a:lnTo>
                <a:lnTo>
                  <a:pt x="56376" y="338244"/>
                </a:lnTo>
                <a:lnTo>
                  <a:pt x="367711" y="338244"/>
                </a:lnTo>
                <a:lnTo>
                  <a:pt x="367711" y="310062"/>
                </a:lnTo>
                <a:lnTo>
                  <a:pt x="84564" y="310062"/>
                </a:lnTo>
                <a:lnTo>
                  <a:pt x="84564" y="28188"/>
                </a:lnTo>
                <a:close/>
                <a:moveTo>
                  <a:pt x="410152" y="253686"/>
                </a:moveTo>
                <a:lnTo>
                  <a:pt x="140937" y="253686"/>
                </a:lnTo>
                <a:lnTo>
                  <a:pt x="140937" y="140940"/>
                </a:lnTo>
                <a:lnTo>
                  <a:pt x="371171" y="140940"/>
                </a:lnTo>
                <a:lnTo>
                  <a:pt x="399359" y="112752"/>
                </a:lnTo>
                <a:lnTo>
                  <a:pt x="140937" y="112752"/>
                </a:lnTo>
                <a:lnTo>
                  <a:pt x="140937" y="84564"/>
                </a:lnTo>
                <a:lnTo>
                  <a:pt x="422811" y="84564"/>
                </a:lnTo>
                <a:lnTo>
                  <a:pt x="422811" y="56376"/>
                </a:lnTo>
                <a:lnTo>
                  <a:pt x="112749" y="56376"/>
                </a:lnTo>
                <a:lnTo>
                  <a:pt x="112749" y="281874"/>
                </a:lnTo>
                <a:lnTo>
                  <a:pt x="382334" y="281874"/>
                </a:lnTo>
                <a:lnTo>
                  <a:pt x="410152" y="253686"/>
                </a:lnTo>
                <a:close/>
                <a:moveTo>
                  <a:pt x="56376" y="535557"/>
                </a:moveTo>
                <a:lnTo>
                  <a:pt x="84564" y="535557"/>
                </a:lnTo>
                <a:lnTo>
                  <a:pt x="84564" y="394620"/>
                </a:lnTo>
                <a:lnTo>
                  <a:pt x="112752" y="394620"/>
                </a:lnTo>
                <a:lnTo>
                  <a:pt x="112752" y="511890"/>
                </a:lnTo>
                <a:lnTo>
                  <a:pt x="140940" y="483705"/>
                </a:lnTo>
                <a:lnTo>
                  <a:pt x="140940" y="394620"/>
                </a:lnTo>
                <a:lnTo>
                  <a:pt x="367714" y="394620"/>
                </a:lnTo>
                <a:lnTo>
                  <a:pt x="367714" y="366435"/>
                </a:lnTo>
                <a:lnTo>
                  <a:pt x="56376" y="366435"/>
                </a:lnTo>
                <a:lnTo>
                  <a:pt x="56376" y="535557"/>
                </a:lnTo>
                <a:close/>
                <a:moveTo>
                  <a:pt x="1428724" y="0"/>
                </a:moveTo>
                <a:lnTo>
                  <a:pt x="1428724" y="324156"/>
                </a:lnTo>
                <a:cubicBezTo>
                  <a:pt x="1428724" y="399584"/>
                  <a:pt x="1395069" y="464387"/>
                  <a:pt x="1316539" y="514089"/>
                </a:cubicBezTo>
                <a:lnTo>
                  <a:pt x="1315903" y="513258"/>
                </a:lnTo>
                <a:cubicBezTo>
                  <a:pt x="1367503" y="472336"/>
                  <a:pt x="1400536" y="419773"/>
                  <a:pt x="1400536" y="351869"/>
                </a:cubicBezTo>
                <a:lnTo>
                  <a:pt x="1400536" y="3"/>
                </a:lnTo>
                <a:lnTo>
                  <a:pt x="1372348" y="3"/>
                </a:lnTo>
                <a:lnTo>
                  <a:pt x="1372348" y="351400"/>
                </a:lnTo>
                <a:cubicBezTo>
                  <a:pt x="1372348" y="452590"/>
                  <a:pt x="1290318" y="528510"/>
                  <a:pt x="1189132" y="528510"/>
                </a:cubicBezTo>
                <a:cubicBezTo>
                  <a:pt x="1087946" y="528510"/>
                  <a:pt x="1005916" y="452587"/>
                  <a:pt x="1005916" y="351400"/>
                </a:cubicBezTo>
                <a:lnTo>
                  <a:pt x="1005916" y="23666"/>
                </a:lnTo>
                <a:lnTo>
                  <a:pt x="977728" y="51854"/>
                </a:lnTo>
                <a:lnTo>
                  <a:pt x="977728" y="351869"/>
                </a:lnTo>
                <a:cubicBezTo>
                  <a:pt x="977728" y="468625"/>
                  <a:pt x="1072376" y="556226"/>
                  <a:pt x="1189132" y="556226"/>
                </a:cubicBezTo>
                <a:cubicBezTo>
                  <a:pt x="1191834" y="556226"/>
                  <a:pt x="1217320" y="556226"/>
                  <a:pt x="1217320" y="556226"/>
                </a:cubicBezTo>
                <a:cubicBezTo>
                  <a:pt x="1332291" y="556226"/>
                  <a:pt x="1456912" y="471321"/>
                  <a:pt x="1456912" y="324566"/>
                </a:cubicBezTo>
                <a:cubicBezTo>
                  <a:pt x="1456912" y="324428"/>
                  <a:pt x="1456912" y="0"/>
                  <a:pt x="1456912" y="0"/>
                </a:cubicBezTo>
                <a:lnTo>
                  <a:pt x="1428724" y="0"/>
                </a:lnTo>
                <a:close/>
                <a:moveTo>
                  <a:pt x="1189132" y="500322"/>
                </a:moveTo>
                <a:cubicBezTo>
                  <a:pt x="1274706" y="500322"/>
                  <a:pt x="1344082" y="436948"/>
                  <a:pt x="1344160" y="351400"/>
                </a:cubicBezTo>
                <a:lnTo>
                  <a:pt x="1344160" y="351400"/>
                </a:lnTo>
                <a:lnTo>
                  <a:pt x="1344160" y="23666"/>
                </a:lnTo>
                <a:lnTo>
                  <a:pt x="1315972" y="51854"/>
                </a:lnTo>
                <a:lnTo>
                  <a:pt x="1315972" y="324153"/>
                </a:lnTo>
                <a:cubicBezTo>
                  <a:pt x="1315972" y="378637"/>
                  <a:pt x="1271801" y="415761"/>
                  <a:pt x="1217317" y="415761"/>
                </a:cubicBezTo>
                <a:cubicBezTo>
                  <a:pt x="1162833" y="415761"/>
                  <a:pt x="1118662" y="378637"/>
                  <a:pt x="1118662" y="324153"/>
                </a:cubicBezTo>
                <a:lnTo>
                  <a:pt x="1118662" y="3"/>
                </a:lnTo>
                <a:lnTo>
                  <a:pt x="1090474" y="3"/>
                </a:lnTo>
                <a:lnTo>
                  <a:pt x="1090474" y="324156"/>
                </a:lnTo>
                <a:cubicBezTo>
                  <a:pt x="1090474" y="394209"/>
                  <a:pt x="1147264" y="443951"/>
                  <a:pt x="1217317" y="443951"/>
                </a:cubicBezTo>
                <a:cubicBezTo>
                  <a:pt x="1245962" y="443951"/>
                  <a:pt x="1280732" y="429800"/>
                  <a:pt x="1304349" y="404889"/>
                </a:cubicBezTo>
                <a:lnTo>
                  <a:pt x="1304982" y="405720"/>
                </a:lnTo>
                <a:cubicBezTo>
                  <a:pt x="1282838" y="446784"/>
                  <a:pt x="1241907" y="472139"/>
                  <a:pt x="1189129" y="472139"/>
                </a:cubicBezTo>
                <a:cubicBezTo>
                  <a:pt x="1119507" y="472139"/>
                  <a:pt x="1062992" y="421734"/>
                  <a:pt x="1062303" y="352344"/>
                </a:cubicBezTo>
                <a:lnTo>
                  <a:pt x="1062286" y="352344"/>
                </a:lnTo>
                <a:lnTo>
                  <a:pt x="1062286" y="3"/>
                </a:lnTo>
                <a:lnTo>
                  <a:pt x="1034098" y="3"/>
                </a:lnTo>
                <a:lnTo>
                  <a:pt x="1034098" y="352341"/>
                </a:lnTo>
                <a:lnTo>
                  <a:pt x="1034113" y="352341"/>
                </a:lnTo>
                <a:cubicBezTo>
                  <a:pt x="1034703" y="437411"/>
                  <a:pt x="1103877" y="500322"/>
                  <a:pt x="1189132" y="500322"/>
                </a:cubicBezTo>
                <a:close/>
                <a:moveTo>
                  <a:pt x="562774" y="366435"/>
                </a:moveTo>
                <a:lnTo>
                  <a:pt x="491494" y="535557"/>
                </a:lnTo>
                <a:lnTo>
                  <a:pt x="519684" y="535554"/>
                </a:lnTo>
                <a:lnTo>
                  <a:pt x="519682" y="535557"/>
                </a:lnTo>
                <a:lnTo>
                  <a:pt x="519684" y="535557"/>
                </a:lnTo>
                <a:lnTo>
                  <a:pt x="555322" y="450996"/>
                </a:lnTo>
                <a:lnTo>
                  <a:pt x="794138" y="450996"/>
                </a:lnTo>
                <a:lnTo>
                  <a:pt x="829744" y="535557"/>
                </a:lnTo>
                <a:lnTo>
                  <a:pt x="857932" y="535557"/>
                </a:lnTo>
                <a:lnTo>
                  <a:pt x="810457" y="422808"/>
                </a:lnTo>
                <a:lnTo>
                  <a:pt x="567200" y="422808"/>
                </a:lnTo>
                <a:lnTo>
                  <a:pt x="579078" y="394620"/>
                </a:lnTo>
                <a:lnTo>
                  <a:pt x="826776" y="394620"/>
                </a:lnTo>
                <a:lnTo>
                  <a:pt x="886120" y="535557"/>
                </a:lnTo>
                <a:lnTo>
                  <a:pt x="914308" y="535557"/>
                </a:lnTo>
                <a:lnTo>
                  <a:pt x="843097" y="366435"/>
                </a:lnTo>
                <a:lnTo>
                  <a:pt x="562774" y="366435"/>
                </a:lnTo>
                <a:close/>
                <a:moveTo>
                  <a:pt x="604248" y="0"/>
                </a:moveTo>
                <a:lnTo>
                  <a:pt x="397091" y="491374"/>
                </a:lnTo>
                <a:lnTo>
                  <a:pt x="415032" y="515732"/>
                </a:lnTo>
                <a:lnTo>
                  <a:pt x="632437" y="0"/>
                </a:lnTo>
                <a:lnTo>
                  <a:pt x="604248" y="0"/>
                </a:lnTo>
                <a:close/>
                <a:moveTo>
                  <a:pt x="716998" y="3"/>
                </a:moveTo>
                <a:lnTo>
                  <a:pt x="934130" y="515735"/>
                </a:lnTo>
                <a:lnTo>
                  <a:pt x="952028" y="491377"/>
                </a:lnTo>
                <a:lnTo>
                  <a:pt x="745186" y="3"/>
                </a:lnTo>
                <a:lnTo>
                  <a:pt x="716998" y="3"/>
                </a:lnTo>
                <a:close/>
                <a:moveTo>
                  <a:pt x="546409" y="338247"/>
                </a:moveTo>
                <a:lnTo>
                  <a:pt x="463042" y="535557"/>
                </a:lnTo>
                <a:lnTo>
                  <a:pt x="434854" y="535557"/>
                </a:lnTo>
                <a:lnTo>
                  <a:pt x="646528" y="33467"/>
                </a:lnTo>
                <a:lnTo>
                  <a:pt x="762988" y="310059"/>
                </a:lnTo>
                <a:lnTo>
                  <a:pt x="791176" y="310059"/>
                </a:lnTo>
                <a:lnTo>
                  <a:pt x="660624" y="3"/>
                </a:lnTo>
                <a:lnTo>
                  <a:pt x="688812" y="3"/>
                </a:lnTo>
                <a:lnTo>
                  <a:pt x="831231" y="338247"/>
                </a:lnTo>
                <a:lnTo>
                  <a:pt x="546409" y="338247"/>
                </a:lnTo>
                <a:close/>
                <a:moveTo>
                  <a:pt x="674788" y="167531"/>
                </a:moveTo>
                <a:lnTo>
                  <a:pt x="614721" y="310062"/>
                </a:lnTo>
                <a:lnTo>
                  <a:pt x="734800" y="310062"/>
                </a:lnTo>
                <a:lnTo>
                  <a:pt x="674788" y="167531"/>
                </a:lnTo>
                <a:close/>
                <a:moveTo>
                  <a:pt x="558275" y="310062"/>
                </a:moveTo>
                <a:lnTo>
                  <a:pt x="586535" y="310062"/>
                </a:lnTo>
                <a:lnTo>
                  <a:pt x="660703" y="134072"/>
                </a:lnTo>
                <a:lnTo>
                  <a:pt x="646588" y="100553"/>
                </a:lnTo>
                <a:lnTo>
                  <a:pt x="558275" y="310062"/>
                </a:lnTo>
                <a:close/>
              </a:path>
            </a:pathLst>
          </a:custGeom>
          <a:solidFill>
            <a:schemeClr val="tx1"/>
          </a:solidFill>
          <a:ln w="2892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grpSp>
        <p:nvGrpSpPr>
          <p:cNvPr id="115" name="Gruppieren 114">
            <a:extLst>
              <a:ext uri="{FF2B5EF4-FFF2-40B4-BE49-F238E27FC236}">
                <a16:creationId xmlns:a16="http://schemas.microsoft.com/office/drawing/2014/main" id="{0A98968C-4DA6-40AF-94C9-FC277A4B0B08}"/>
              </a:ext>
            </a:extLst>
          </p:cNvPr>
          <p:cNvGrpSpPr/>
          <p:nvPr userDrawn="1"/>
        </p:nvGrpSpPr>
        <p:grpSpPr>
          <a:xfrm>
            <a:off x="-390525" y="160153"/>
            <a:ext cx="333375" cy="136812"/>
            <a:chOff x="-390525" y="160153"/>
            <a:chExt cx="333375" cy="136812"/>
          </a:xfrm>
        </p:grpSpPr>
        <p:cxnSp>
          <p:nvCxnSpPr>
            <p:cNvPr id="116" name="Gerader Verbinder 115">
              <a:extLst>
                <a:ext uri="{FF2B5EF4-FFF2-40B4-BE49-F238E27FC236}">
                  <a16:creationId xmlns:a16="http://schemas.microsoft.com/office/drawing/2014/main" id="{D558573A-1AE8-4E91-9D6D-C201FB793AF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90525" y="296965"/>
              <a:ext cx="333375" cy="0"/>
            </a:xfrm>
            <a:prstGeom prst="line">
              <a:avLst/>
            </a:prstGeom>
            <a:ln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17" name="Textfeld 116">
              <a:extLst>
                <a:ext uri="{FF2B5EF4-FFF2-40B4-BE49-F238E27FC236}">
                  <a16:creationId xmlns:a16="http://schemas.microsoft.com/office/drawing/2014/main" id="{1B757731-A263-4F50-8E8E-3BDB5E574632}"/>
                </a:ext>
              </a:extLst>
            </p:cNvPr>
            <p:cNvSpPr txBox="1"/>
            <p:nvPr userDrawn="1"/>
          </p:nvSpPr>
          <p:spPr>
            <a:xfrm>
              <a:off x="-353681" y="160153"/>
              <a:ext cx="259686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75000"/>
                    </a:scheme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8,70</a:t>
              </a:r>
            </a:p>
          </p:txBody>
        </p:sp>
      </p:grpSp>
      <p:grpSp>
        <p:nvGrpSpPr>
          <p:cNvPr id="118" name="Gruppieren 117">
            <a:extLst>
              <a:ext uri="{FF2B5EF4-FFF2-40B4-BE49-F238E27FC236}">
                <a16:creationId xmlns:a16="http://schemas.microsoft.com/office/drawing/2014/main" id="{18ECC25F-964C-49D8-B02A-BFE8BCD70A87}"/>
              </a:ext>
            </a:extLst>
          </p:cNvPr>
          <p:cNvGrpSpPr/>
          <p:nvPr userDrawn="1"/>
        </p:nvGrpSpPr>
        <p:grpSpPr>
          <a:xfrm>
            <a:off x="-390525" y="1131703"/>
            <a:ext cx="333375" cy="136812"/>
            <a:chOff x="-390525" y="1131703"/>
            <a:chExt cx="333375" cy="136812"/>
          </a:xfrm>
        </p:grpSpPr>
        <p:cxnSp>
          <p:nvCxnSpPr>
            <p:cNvPr id="119" name="Gerader Verbinder 118">
              <a:extLst>
                <a:ext uri="{FF2B5EF4-FFF2-40B4-BE49-F238E27FC236}">
                  <a16:creationId xmlns:a16="http://schemas.microsoft.com/office/drawing/2014/main" id="{958219AE-1E9B-45E0-8E2D-2A309441E80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90525" y="1268515"/>
              <a:ext cx="333375" cy="0"/>
            </a:xfrm>
            <a:prstGeom prst="line">
              <a:avLst/>
            </a:prstGeom>
            <a:ln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0" name="Textfeld 119">
              <a:extLst>
                <a:ext uri="{FF2B5EF4-FFF2-40B4-BE49-F238E27FC236}">
                  <a16:creationId xmlns:a16="http://schemas.microsoft.com/office/drawing/2014/main" id="{D9355498-0F01-4F90-AD67-1F00810871F3}"/>
                </a:ext>
              </a:extLst>
            </p:cNvPr>
            <p:cNvSpPr txBox="1"/>
            <p:nvPr userDrawn="1"/>
          </p:nvSpPr>
          <p:spPr>
            <a:xfrm>
              <a:off x="-353680" y="1131703"/>
              <a:ext cx="259687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75000"/>
                    </a:scheme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6,00</a:t>
              </a:r>
            </a:p>
          </p:txBody>
        </p:sp>
      </p:grpSp>
      <p:grpSp>
        <p:nvGrpSpPr>
          <p:cNvPr id="121" name="Gruppieren 120">
            <a:extLst>
              <a:ext uri="{FF2B5EF4-FFF2-40B4-BE49-F238E27FC236}">
                <a16:creationId xmlns:a16="http://schemas.microsoft.com/office/drawing/2014/main" id="{C0AF6B1E-2390-4439-A30A-EAF9B5E1ABB2}"/>
              </a:ext>
            </a:extLst>
          </p:cNvPr>
          <p:cNvGrpSpPr/>
          <p:nvPr userDrawn="1"/>
        </p:nvGrpSpPr>
        <p:grpSpPr>
          <a:xfrm>
            <a:off x="-390525" y="1491963"/>
            <a:ext cx="333375" cy="136812"/>
            <a:chOff x="-390525" y="1491963"/>
            <a:chExt cx="333375" cy="136812"/>
          </a:xfrm>
        </p:grpSpPr>
        <p:cxnSp>
          <p:nvCxnSpPr>
            <p:cNvPr id="122" name="Gerader Verbinder 121">
              <a:extLst>
                <a:ext uri="{FF2B5EF4-FFF2-40B4-BE49-F238E27FC236}">
                  <a16:creationId xmlns:a16="http://schemas.microsoft.com/office/drawing/2014/main" id="{6F83EDBC-F5EE-489A-AA37-F033D9940B51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90525" y="1628775"/>
              <a:ext cx="333375" cy="0"/>
            </a:xfrm>
            <a:prstGeom prst="line">
              <a:avLst/>
            </a:prstGeom>
            <a:ln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3" name="Textfeld 122">
              <a:extLst>
                <a:ext uri="{FF2B5EF4-FFF2-40B4-BE49-F238E27FC236}">
                  <a16:creationId xmlns:a16="http://schemas.microsoft.com/office/drawing/2014/main" id="{259AC195-937B-4B15-BBA4-44E57FA2145A}"/>
                </a:ext>
              </a:extLst>
            </p:cNvPr>
            <p:cNvSpPr txBox="1"/>
            <p:nvPr userDrawn="1"/>
          </p:nvSpPr>
          <p:spPr>
            <a:xfrm>
              <a:off x="-353680" y="1491963"/>
              <a:ext cx="259687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75000"/>
                    </a:scheme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5,00</a:t>
              </a:r>
            </a:p>
          </p:txBody>
        </p:sp>
      </p:grpSp>
      <p:grpSp>
        <p:nvGrpSpPr>
          <p:cNvPr id="127" name="Gruppieren 126">
            <a:extLst>
              <a:ext uri="{FF2B5EF4-FFF2-40B4-BE49-F238E27FC236}">
                <a16:creationId xmlns:a16="http://schemas.microsoft.com/office/drawing/2014/main" id="{FA75C3FE-1C52-4ADD-9C67-6EEB7C1B2693}"/>
              </a:ext>
            </a:extLst>
          </p:cNvPr>
          <p:cNvGrpSpPr/>
          <p:nvPr userDrawn="1"/>
        </p:nvGrpSpPr>
        <p:grpSpPr>
          <a:xfrm>
            <a:off x="-390525" y="6063963"/>
            <a:ext cx="333375" cy="136812"/>
            <a:chOff x="-390525" y="6063963"/>
            <a:chExt cx="333375" cy="136812"/>
          </a:xfrm>
        </p:grpSpPr>
        <p:cxnSp>
          <p:nvCxnSpPr>
            <p:cNvPr id="128" name="Gerader Verbinder 127">
              <a:extLst>
                <a:ext uri="{FF2B5EF4-FFF2-40B4-BE49-F238E27FC236}">
                  <a16:creationId xmlns:a16="http://schemas.microsoft.com/office/drawing/2014/main" id="{23579909-C13A-4A67-89A1-5376BC7F3C7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90525" y="6200775"/>
              <a:ext cx="333375" cy="0"/>
            </a:xfrm>
            <a:prstGeom prst="line">
              <a:avLst/>
            </a:prstGeom>
            <a:ln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9" name="Textfeld 128">
              <a:extLst>
                <a:ext uri="{FF2B5EF4-FFF2-40B4-BE49-F238E27FC236}">
                  <a16:creationId xmlns:a16="http://schemas.microsoft.com/office/drawing/2014/main" id="{EA39799A-ADC3-46CC-B4B7-24525CCB4E19}"/>
                </a:ext>
              </a:extLst>
            </p:cNvPr>
            <p:cNvSpPr txBox="1"/>
            <p:nvPr userDrawn="1"/>
          </p:nvSpPr>
          <p:spPr>
            <a:xfrm>
              <a:off x="-353679" y="6063963"/>
              <a:ext cx="259687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75000"/>
                    </a:scheme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7,70</a:t>
              </a:r>
            </a:p>
          </p:txBody>
        </p:sp>
      </p:grpSp>
      <p:grpSp>
        <p:nvGrpSpPr>
          <p:cNvPr id="130" name="Gruppieren 129">
            <a:extLst>
              <a:ext uri="{FF2B5EF4-FFF2-40B4-BE49-F238E27FC236}">
                <a16:creationId xmlns:a16="http://schemas.microsoft.com/office/drawing/2014/main" id="{5A9976AE-F7E6-4F3D-928D-E2F4CE69C651}"/>
              </a:ext>
            </a:extLst>
          </p:cNvPr>
          <p:cNvGrpSpPr/>
          <p:nvPr userDrawn="1"/>
        </p:nvGrpSpPr>
        <p:grpSpPr>
          <a:xfrm>
            <a:off x="-390525" y="6495763"/>
            <a:ext cx="333375" cy="136812"/>
            <a:chOff x="-390525" y="6495763"/>
            <a:chExt cx="333375" cy="136812"/>
          </a:xfrm>
        </p:grpSpPr>
        <p:cxnSp>
          <p:nvCxnSpPr>
            <p:cNvPr id="131" name="Gerader Verbinder 130">
              <a:extLst>
                <a:ext uri="{FF2B5EF4-FFF2-40B4-BE49-F238E27FC236}">
                  <a16:creationId xmlns:a16="http://schemas.microsoft.com/office/drawing/2014/main" id="{AE52C592-3FE6-4097-A72B-3C8648500F6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90525" y="6632575"/>
              <a:ext cx="333375" cy="0"/>
            </a:xfrm>
            <a:prstGeom prst="line">
              <a:avLst/>
            </a:prstGeom>
            <a:ln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2" name="Textfeld 131">
              <a:extLst>
                <a:ext uri="{FF2B5EF4-FFF2-40B4-BE49-F238E27FC236}">
                  <a16:creationId xmlns:a16="http://schemas.microsoft.com/office/drawing/2014/main" id="{54BA8BAB-BB9E-4AB2-97A5-C2BD750A4ABC}"/>
                </a:ext>
              </a:extLst>
            </p:cNvPr>
            <p:cNvSpPr txBox="1"/>
            <p:nvPr userDrawn="1"/>
          </p:nvSpPr>
          <p:spPr>
            <a:xfrm>
              <a:off x="-353678" y="6495763"/>
              <a:ext cx="259687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75000"/>
                    </a:scheme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8,90</a:t>
              </a:r>
            </a:p>
          </p:txBody>
        </p:sp>
      </p:grpSp>
      <p:grpSp>
        <p:nvGrpSpPr>
          <p:cNvPr id="133" name="Gruppieren 132">
            <a:extLst>
              <a:ext uri="{FF2B5EF4-FFF2-40B4-BE49-F238E27FC236}">
                <a16:creationId xmlns:a16="http://schemas.microsoft.com/office/drawing/2014/main" id="{944DD0E4-60A9-4240-97FF-C57932885BF6}"/>
              </a:ext>
            </a:extLst>
          </p:cNvPr>
          <p:cNvGrpSpPr/>
          <p:nvPr userDrawn="1"/>
        </p:nvGrpSpPr>
        <p:grpSpPr>
          <a:xfrm>
            <a:off x="379928" y="-397421"/>
            <a:ext cx="136808" cy="333375"/>
            <a:chOff x="379928" y="-397421"/>
            <a:chExt cx="136808" cy="333375"/>
          </a:xfrm>
        </p:grpSpPr>
        <p:cxnSp>
          <p:nvCxnSpPr>
            <p:cNvPr id="134" name="Gerader Verbinder 133">
              <a:extLst>
                <a:ext uri="{FF2B5EF4-FFF2-40B4-BE49-F238E27FC236}">
                  <a16:creationId xmlns:a16="http://schemas.microsoft.com/office/drawing/2014/main" id="{61688995-3233-4595-8E72-34D3F1C21A0E}"/>
                </a:ext>
              </a:extLst>
            </p:cNvPr>
            <p:cNvCxnSpPr>
              <a:cxnSpLocks/>
            </p:cNvCxnSpPr>
            <p:nvPr userDrawn="1"/>
          </p:nvCxnSpPr>
          <p:spPr>
            <a:xfrm rot="16200000">
              <a:off x="350048" y="-230733"/>
              <a:ext cx="333375" cy="0"/>
            </a:xfrm>
            <a:prstGeom prst="line">
              <a:avLst/>
            </a:prstGeom>
            <a:ln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5" name="Textfeld 134">
              <a:extLst>
                <a:ext uri="{FF2B5EF4-FFF2-40B4-BE49-F238E27FC236}">
                  <a16:creationId xmlns:a16="http://schemas.microsoft.com/office/drawing/2014/main" id="{12F1DB1D-A979-4E91-A0BB-72A87A2162EA}"/>
                </a:ext>
              </a:extLst>
            </p:cNvPr>
            <p:cNvSpPr txBox="1"/>
            <p:nvPr userDrawn="1"/>
          </p:nvSpPr>
          <p:spPr>
            <a:xfrm rot="16200000">
              <a:off x="312537" y="-293184"/>
              <a:ext cx="259687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75000"/>
                    </a:scheme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15,50</a:t>
              </a:r>
            </a:p>
          </p:txBody>
        </p:sp>
      </p:grpSp>
      <p:grpSp>
        <p:nvGrpSpPr>
          <p:cNvPr id="136" name="Gruppieren 135">
            <a:extLst>
              <a:ext uri="{FF2B5EF4-FFF2-40B4-BE49-F238E27FC236}">
                <a16:creationId xmlns:a16="http://schemas.microsoft.com/office/drawing/2014/main" id="{6D1F4F6E-1F8D-4EE1-8F42-561EE9F3F372}"/>
              </a:ext>
            </a:extLst>
          </p:cNvPr>
          <p:cNvGrpSpPr/>
          <p:nvPr userDrawn="1"/>
        </p:nvGrpSpPr>
        <p:grpSpPr>
          <a:xfrm>
            <a:off x="6203950" y="-397424"/>
            <a:ext cx="124906" cy="333375"/>
            <a:chOff x="6203950" y="-397424"/>
            <a:chExt cx="124906" cy="333375"/>
          </a:xfrm>
        </p:grpSpPr>
        <p:cxnSp>
          <p:nvCxnSpPr>
            <p:cNvPr id="137" name="Gerader Verbinder 136">
              <a:extLst>
                <a:ext uri="{FF2B5EF4-FFF2-40B4-BE49-F238E27FC236}">
                  <a16:creationId xmlns:a16="http://schemas.microsoft.com/office/drawing/2014/main" id="{420EEDD4-EF71-4FDC-BC36-3258230F7708}"/>
                </a:ext>
              </a:extLst>
            </p:cNvPr>
            <p:cNvCxnSpPr>
              <a:cxnSpLocks/>
            </p:cNvCxnSpPr>
            <p:nvPr userDrawn="1"/>
          </p:nvCxnSpPr>
          <p:spPr>
            <a:xfrm rot="16200000">
              <a:off x="6037263" y="-230736"/>
              <a:ext cx="333375" cy="0"/>
            </a:xfrm>
            <a:prstGeom prst="line">
              <a:avLst/>
            </a:prstGeom>
            <a:ln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8" name="Textfeld 137">
              <a:extLst>
                <a:ext uri="{FF2B5EF4-FFF2-40B4-BE49-F238E27FC236}">
                  <a16:creationId xmlns:a16="http://schemas.microsoft.com/office/drawing/2014/main" id="{ECCD68D0-892A-4A6F-972A-842A8F39A1B5}"/>
                </a:ext>
              </a:extLst>
            </p:cNvPr>
            <p:cNvSpPr txBox="1"/>
            <p:nvPr userDrawn="1"/>
          </p:nvSpPr>
          <p:spPr>
            <a:xfrm rot="16200000">
              <a:off x="6136559" y="-293191"/>
              <a:ext cx="259687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75000"/>
                    </a:scheme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0,30</a:t>
              </a:r>
            </a:p>
          </p:txBody>
        </p:sp>
      </p:grpSp>
      <p:grpSp>
        <p:nvGrpSpPr>
          <p:cNvPr id="139" name="Gruppieren 138">
            <a:extLst>
              <a:ext uri="{FF2B5EF4-FFF2-40B4-BE49-F238E27FC236}">
                <a16:creationId xmlns:a16="http://schemas.microsoft.com/office/drawing/2014/main" id="{57C116C8-310E-4724-9C91-C92ED7B4882B}"/>
              </a:ext>
            </a:extLst>
          </p:cNvPr>
          <p:cNvGrpSpPr/>
          <p:nvPr userDrawn="1"/>
        </p:nvGrpSpPr>
        <p:grpSpPr>
          <a:xfrm>
            <a:off x="5851249" y="-397424"/>
            <a:ext cx="244752" cy="333377"/>
            <a:chOff x="5851249" y="-397424"/>
            <a:chExt cx="244752" cy="333377"/>
          </a:xfrm>
        </p:grpSpPr>
        <p:cxnSp>
          <p:nvCxnSpPr>
            <p:cNvPr id="140" name="Gerader Verbinder 139">
              <a:extLst>
                <a:ext uri="{FF2B5EF4-FFF2-40B4-BE49-F238E27FC236}">
                  <a16:creationId xmlns:a16="http://schemas.microsoft.com/office/drawing/2014/main" id="{6F42C049-0C56-4DA0-894A-E2B500C6631F}"/>
                </a:ext>
              </a:extLst>
            </p:cNvPr>
            <p:cNvCxnSpPr>
              <a:cxnSpLocks/>
            </p:cNvCxnSpPr>
            <p:nvPr userDrawn="1"/>
          </p:nvCxnSpPr>
          <p:spPr>
            <a:xfrm rot="16200000">
              <a:off x="5821365" y="-230734"/>
              <a:ext cx="333375" cy="0"/>
            </a:xfrm>
            <a:prstGeom prst="line">
              <a:avLst/>
            </a:prstGeom>
            <a:ln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1" name="Textfeld 140">
              <a:extLst>
                <a:ext uri="{FF2B5EF4-FFF2-40B4-BE49-F238E27FC236}">
                  <a16:creationId xmlns:a16="http://schemas.microsoft.com/office/drawing/2014/main" id="{0A97CD6E-6320-490A-82B8-07989553480B}"/>
                </a:ext>
              </a:extLst>
            </p:cNvPr>
            <p:cNvSpPr txBox="1"/>
            <p:nvPr userDrawn="1"/>
          </p:nvSpPr>
          <p:spPr>
            <a:xfrm rot="16200000">
              <a:off x="5783858" y="-293189"/>
              <a:ext cx="259687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75000"/>
                    </a:scheme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0,30</a:t>
              </a:r>
            </a:p>
          </p:txBody>
        </p:sp>
        <p:cxnSp>
          <p:nvCxnSpPr>
            <p:cNvPr id="142" name="Gerader Verbinder 141">
              <a:extLst>
                <a:ext uri="{FF2B5EF4-FFF2-40B4-BE49-F238E27FC236}">
                  <a16:creationId xmlns:a16="http://schemas.microsoft.com/office/drawing/2014/main" id="{A70930FB-DEEE-4AB2-B50A-B50567F43FBA}"/>
                </a:ext>
              </a:extLst>
            </p:cNvPr>
            <p:cNvCxnSpPr>
              <a:cxnSpLocks/>
            </p:cNvCxnSpPr>
            <p:nvPr userDrawn="1"/>
          </p:nvCxnSpPr>
          <p:spPr>
            <a:xfrm rot="16200000">
              <a:off x="5929313" y="-230736"/>
              <a:ext cx="333375" cy="0"/>
            </a:xfrm>
            <a:prstGeom prst="line">
              <a:avLst/>
            </a:prstGeom>
            <a:ln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43" name="Gruppieren 142">
            <a:extLst>
              <a:ext uri="{FF2B5EF4-FFF2-40B4-BE49-F238E27FC236}">
                <a16:creationId xmlns:a16="http://schemas.microsoft.com/office/drawing/2014/main" id="{C8C3814D-D7BF-43ED-B9EF-D5A7C5D05C01}"/>
              </a:ext>
            </a:extLst>
          </p:cNvPr>
          <p:cNvGrpSpPr/>
          <p:nvPr userDrawn="1"/>
        </p:nvGrpSpPr>
        <p:grpSpPr>
          <a:xfrm>
            <a:off x="11545613" y="-397427"/>
            <a:ext cx="136800" cy="333375"/>
            <a:chOff x="11545613" y="-397427"/>
            <a:chExt cx="136800" cy="333375"/>
          </a:xfrm>
        </p:grpSpPr>
        <p:cxnSp>
          <p:nvCxnSpPr>
            <p:cNvPr id="144" name="Gerader Verbinder 143">
              <a:extLst>
                <a:ext uri="{FF2B5EF4-FFF2-40B4-BE49-F238E27FC236}">
                  <a16:creationId xmlns:a16="http://schemas.microsoft.com/office/drawing/2014/main" id="{F30BB0A8-82FF-4B37-92A2-59C7DEFDEB6B}"/>
                </a:ext>
              </a:extLst>
            </p:cNvPr>
            <p:cNvCxnSpPr>
              <a:cxnSpLocks/>
            </p:cNvCxnSpPr>
            <p:nvPr userDrawn="1"/>
          </p:nvCxnSpPr>
          <p:spPr>
            <a:xfrm rot="16200000">
              <a:off x="11515725" y="-230739"/>
              <a:ext cx="333375" cy="0"/>
            </a:xfrm>
            <a:prstGeom prst="line">
              <a:avLst/>
            </a:prstGeom>
            <a:ln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5" name="Textfeld 144">
              <a:extLst>
                <a:ext uri="{FF2B5EF4-FFF2-40B4-BE49-F238E27FC236}">
                  <a16:creationId xmlns:a16="http://schemas.microsoft.com/office/drawing/2014/main" id="{FECF3826-24F6-4D05-8D94-4C3411397B58}"/>
                </a:ext>
              </a:extLst>
            </p:cNvPr>
            <p:cNvSpPr txBox="1"/>
            <p:nvPr userDrawn="1"/>
          </p:nvSpPr>
          <p:spPr>
            <a:xfrm rot="16200000">
              <a:off x="11478222" y="-293197"/>
              <a:ext cx="259687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75000"/>
                    </a:scheme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15,50</a:t>
              </a:r>
            </a:p>
          </p:txBody>
        </p:sp>
      </p:grpSp>
      <p:sp>
        <p:nvSpPr>
          <p:cNvPr id="146" name="Rechteck 145">
            <a:extLst>
              <a:ext uri="{FF2B5EF4-FFF2-40B4-BE49-F238E27FC236}">
                <a16:creationId xmlns:a16="http://schemas.microsoft.com/office/drawing/2014/main" id="{EBE8C122-6535-4868-8094-58D57E3EC4E1}"/>
              </a:ext>
            </a:extLst>
          </p:cNvPr>
          <p:cNvSpPr/>
          <p:nvPr userDrawn="1"/>
        </p:nvSpPr>
        <p:spPr>
          <a:xfrm>
            <a:off x="518400" y="1413835"/>
            <a:ext cx="11676062" cy="72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grpSp>
        <p:nvGrpSpPr>
          <p:cNvPr id="124" name="Gruppieren 123">
            <a:extLst>
              <a:ext uri="{FF2B5EF4-FFF2-40B4-BE49-F238E27FC236}">
                <a16:creationId xmlns:a16="http://schemas.microsoft.com/office/drawing/2014/main" id="{76DC1EDF-B7A8-463F-A25C-913C2D1930ED}"/>
              </a:ext>
            </a:extLst>
          </p:cNvPr>
          <p:cNvGrpSpPr/>
          <p:nvPr userDrawn="1"/>
        </p:nvGrpSpPr>
        <p:grpSpPr>
          <a:xfrm>
            <a:off x="-390525" y="3292188"/>
            <a:ext cx="333375" cy="136812"/>
            <a:chOff x="-390525" y="3292188"/>
            <a:chExt cx="333375" cy="136812"/>
          </a:xfrm>
        </p:grpSpPr>
        <p:cxnSp>
          <p:nvCxnSpPr>
            <p:cNvPr id="125" name="Gerader Verbinder 124">
              <a:extLst>
                <a:ext uri="{FF2B5EF4-FFF2-40B4-BE49-F238E27FC236}">
                  <a16:creationId xmlns:a16="http://schemas.microsoft.com/office/drawing/2014/main" id="{B819A475-F9F3-4F26-8109-F52E0CC8B46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90525" y="3429000"/>
              <a:ext cx="333375" cy="0"/>
            </a:xfrm>
            <a:prstGeom prst="line">
              <a:avLst/>
            </a:prstGeom>
            <a:ln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6" name="Textfeld 125">
              <a:extLst>
                <a:ext uri="{FF2B5EF4-FFF2-40B4-BE49-F238E27FC236}">
                  <a16:creationId xmlns:a16="http://schemas.microsoft.com/office/drawing/2014/main" id="{DCA1CC82-1D99-4768-BB7D-1113362839BE}"/>
                </a:ext>
              </a:extLst>
            </p:cNvPr>
            <p:cNvSpPr txBox="1"/>
            <p:nvPr userDrawn="1"/>
          </p:nvSpPr>
          <p:spPr>
            <a:xfrm>
              <a:off x="-353680" y="3292188"/>
              <a:ext cx="259687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75000"/>
                    </a:scheme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0,00</a:t>
              </a:r>
            </a:p>
          </p:txBody>
        </p:sp>
      </p:grpSp>
      <p:pic>
        <p:nvPicPr>
          <p:cNvPr id="114" name="Grafik 113">
            <a:extLst>
              <a:ext uri="{FF2B5EF4-FFF2-40B4-BE49-F238E27FC236}">
                <a16:creationId xmlns:a16="http://schemas.microsoft.com/office/drawing/2014/main" id="{5A5975E2-80E6-4A36-83FC-E1D0A2B54E1C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509578" y="293687"/>
            <a:ext cx="2604169" cy="556887"/>
          </a:xfrm>
          <a:prstGeom prst="rect">
            <a:avLst/>
          </a:prstGeom>
        </p:spPr>
      </p:pic>
      <p:sp>
        <p:nvSpPr>
          <p:cNvPr id="148" name="Textfeld 147">
            <a:extLst>
              <a:ext uri="{FF2B5EF4-FFF2-40B4-BE49-F238E27FC236}">
                <a16:creationId xmlns:a16="http://schemas.microsoft.com/office/drawing/2014/main" id="{D9750AB8-856C-4383-A296-B5A99FB70B82}"/>
              </a:ext>
            </a:extLst>
          </p:cNvPr>
          <p:cNvSpPr txBox="1"/>
          <p:nvPr userDrawn="1"/>
        </p:nvSpPr>
        <p:spPr>
          <a:xfrm>
            <a:off x="2749252" y="4293124"/>
            <a:ext cx="8933159" cy="190821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Prof. Dr. Martin Matzner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Friedrich-Alexander-Universität Erlangen-Nürnberg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Fachbereich Wirtschafts- und Sozialwissenschaften | WiSo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58775" algn="l"/>
              </a:tabLst>
              <a:defRPr/>
            </a:pP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	wiso-is-kontakt@fau.de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58775" algn="l"/>
              </a:tabLst>
              <a:defRPr/>
            </a:pP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	twitter.com/</a:t>
            </a:r>
            <a:r>
              <a:rPr kumimoji="0" lang="de-DE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ismama</a:t>
            </a:r>
            <a:endParaRPr kumimoji="0" lang="de-DE" sz="2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58775" algn="l"/>
              </a:tabLst>
              <a:defRPr/>
            </a:pP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	www.is.rw.fau.de</a:t>
            </a:r>
          </a:p>
        </p:txBody>
      </p:sp>
      <p:sp>
        <p:nvSpPr>
          <p:cNvPr id="157" name="Textfeld 156">
            <a:extLst>
              <a:ext uri="{FF2B5EF4-FFF2-40B4-BE49-F238E27FC236}">
                <a16:creationId xmlns:a16="http://schemas.microsoft.com/office/drawing/2014/main" id="{CEDDA531-356A-426B-A7A1-987654E04957}"/>
              </a:ext>
            </a:extLst>
          </p:cNvPr>
          <p:cNvSpPr txBox="1"/>
          <p:nvPr userDrawn="1"/>
        </p:nvSpPr>
        <p:spPr>
          <a:xfrm>
            <a:off x="518317" y="1631156"/>
            <a:ext cx="11157745" cy="62459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40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ehrstuhl</a:t>
            </a:r>
            <a:r>
              <a:rPr kumimoji="0" lang="en-US" sz="40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für Digital Industrial Service Systems</a:t>
            </a:r>
          </a:p>
        </p:txBody>
      </p:sp>
      <p:pic>
        <p:nvPicPr>
          <p:cNvPr id="158" name="Grafik 157" descr="Ein Bild, das Person, Mann, Anzug, Schlips enthält.&#10;&#10;Automatisch generierte Beschreibung">
            <a:extLst>
              <a:ext uri="{FF2B5EF4-FFF2-40B4-BE49-F238E27FC236}">
                <a16:creationId xmlns:a16="http://schemas.microsoft.com/office/drawing/2014/main" id="{E46ACB3E-65A4-4FF8-8469-37139C5602F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-74"/>
          <a:stretch/>
        </p:blipFill>
        <p:spPr>
          <a:xfrm>
            <a:off x="606715" y="4381523"/>
            <a:ext cx="1731422" cy="1731418"/>
          </a:xfrm>
          <a:prstGeom prst="ellipse">
            <a:avLst/>
          </a:prstGeom>
          <a:ln w="12700">
            <a:noFill/>
          </a:ln>
        </p:spPr>
      </p:pic>
      <p:grpSp>
        <p:nvGrpSpPr>
          <p:cNvPr id="2" name="Gruppieren 1">
            <a:extLst>
              <a:ext uri="{FF2B5EF4-FFF2-40B4-BE49-F238E27FC236}">
                <a16:creationId xmlns:a16="http://schemas.microsoft.com/office/drawing/2014/main" id="{DDB542BB-D888-4F3E-BD65-23289067EBAD}"/>
              </a:ext>
            </a:extLst>
          </p:cNvPr>
          <p:cNvGrpSpPr/>
          <p:nvPr userDrawn="1"/>
        </p:nvGrpSpPr>
        <p:grpSpPr>
          <a:xfrm>
            <a:off x="2743303" y="5325676"/>
            <a:ext cx="272947" cy="862512"/>
            <a:chOff x="2743303" y="5141913"/>
            <a:chExt cx="331100" cy="1046275"/>
          </a:xfrm>
        </p:grpSpPr>
        <p:sp>
          <p:nvSpPr>
            <p:cNvPr id="151" name="Freeform 184">
              <a:extLst>
                <a:ext uri="{FF2B5EF4-FFF2-40B4-BE49-F238E27FC236}">
                  <a16:creationId xmlns:a16="http://schemas.microsoft.com/office/drawing/2014/main" id="{696DC01E-8FD7-43AF-AEA2-4B369A89CEB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73483" y="5556025"/>
              <a:ext cx="264408" cy="200319"/>
            </a:xfrm>
            <a:custGeom>
              <a:avLst/>
              <a:gdLst>
                <a:gd name="T0" fmla="*/ 0 w 497"/>
                <a:gd name="T1" fmla="*/ 358 h 404"/>
                <a:gd name="T2" fmla="*/ 25 w 497"/>
                <a:gd name="T3" fmla="*/ 359 h 404"/>
                <a:gd name="T4" fmla="*/ 151 w 497"/>
                <a:gd name="T5" fmla="*/ 316 h 404"/>
                <a:gd name="T6" fmla="*/ 92 w 497"/>
                <a:gd name="T7" fmla="*/ 295 h 404"/>
                <a:gd name="T8" fmla="*/ 56 w 497"/>
                <a:gd name="T9" fmla="*/ 245 h 404"/>
                <a:gd name="T10" fmla="*/ 75 w 497"/>
                <a:gd name="T11" fmla="*/ 247 h 404"/>
                <a:gd name="T12" fmla="*/ 102 w 497"/>
                <a:gd name="T13" fmla="*/ 243 h 404"/>
                <a:gd name="T14" fmla="*/ 43 w 497"/>
                <a:gd name="T15" fmla="*/ 208 h 404"/>
                <a:gd name="T16" fmla="*/ 20 w 497"/>
                <a:gd name="T17" fmla="*/ 143 h 404"/>
                <a:gd name="T18" fmla="*/ 20 w 497"/>
                <a:gd name="T19" fmla="*/ 142 h 404"/>
                <a:gd name="T20" fmla="*/ 66 w 497"/>
                <a:gd name="T21" fmla="*/ 155 h 404"/>
                <a:gd name="T22" fmla="*/ 33 w 497"/>
                <a:gd name="T23" fmla="*/ 119 h 404"/>
                <a:gd name="T24" fmla="*/ 21 w 497"/>
                <a:gd name="T25" fmla="*/ 70 h 404"/>
                <a:gd name="T26" fmla="*/ 35 w 497"/>
                <a:gd name="T27" fmla="*/ 19 h 404"/>
                <a:gd name="T28" fmla="*/ 128 w 497"/>
                <a:gd name="T29" fmla="*/ 94 h 404"/>
                <a:gd name="T30" fmla="*/ 245 w 497"/>
                <a:gd name="T31" fmla="*/ 125 h 404"/>
                <a:gd name="T32" fmla="*/ 242 w 497"/>
                <a:gd name="T33" fmla="*/ 102 h 404"/>
                <a:gd name="T34" fmla="*/ 272 w 497"/>
                <a:gd name="T35" fmla="*/ 30 h 404"/>
                <a:gd name="T36" fmla="*/ 344 w 497"/>
                <a:gd name="T37" fmla="*/ 0 h 404"/>
                <a:gd name="T38" fmla="*/ 418 w 497"/>
                <a:gd name="T39" fmla="*/ 33 h 404"/>
                <a:gd name="T40" fmla="*/ 483 w 497"/>
                <a:gd name="T41" fmla="*/ 8 h 404"/>
                <a:gd name="T42" fmla="*/ 438 w 497"/>
                <a:gd name="T43" fmla="*/ 64 h 404"/>
                <a:gd name="T44" fmla="*/ 497 w 497"/>
                <a:gd name="T45" fmla="*/ 48 h 404"/>
                <a:gd name="T46" fmla="*/ 446 w 497"/>
                <a:gd name="T47" fmla="*/ 101 h 404"/>
                <a:gd name="T48" fmla="*/ 446 w 497"/>
                <a:gd name="T49" fmla="*/ 114 h 404"/>
                <a:gd name="T50" fmla="*/ 434 w 497"/>
                <a:gd name="T51" fmla="*/ 196 h 404"/>
                <a:gd name="T52" fmla="*/ 398 w 497"/>
                <a:gd name="T53" fmla="*/ 274 h 404"/>
                <a:gd name="T54" fmla="*/ 339 w 497"/>
                <a:gd name="T55" fmla="*/ 340 h 404"/>
                <a:gd name="T56" fmla="*/ 258 w 497"/>
                <a:gd name="T57" fmla="*/ 386 h 404"/>
                <a:gd name="T58" fmla="*/ 156 w 497"/>
                <a:gd name="T59" fmla="*/ 404 h 404"/>
                <a:gd name="T60" fmla="*/ 0 w 497"/>
                <a:gd name="T61" fmla="*/ 358 h 4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497" h="404">
                  <a:moveTo>
                    <a:pt x="0" y="358"/>
                  </a:moveTo>
                  <a:cubicBezTo>
                    <a:pt x="8" y="359"/>
                    <a:pt x="16" y="359"/>
                    <a:pt x="25" y="359"/>
                  </a:cubicBezTo>
                  <a:cubicBezTo>
                    <a:pt x="72" y="359"/>
                    <a:pt x="114" y="345"/>
                    <a:pt x="151" y="316"/>
                  </a:cubicBezTo>
                  <a:cubicBezTo>
                    <a:pt x="129" y="315"/>
                    <a:pt x="109" y="309"/>
                    <a:pt x="92" y="295"/>
                  </a:cubicBezTo>
                  <a:cubicBezTo>
                    <a:pt x="74" y="282"/>
                    <a:pt x="62" y="266"/>
                    <a:pt x="56" y="245"/>
                  </a:cubicBezTo>
                  <a:cubicBezTo>
                    <a:pt x="63" y="246"/>
                    <a:pt x="69" y="247"/>
                    <a:pt x="75" y="247"/>
                  </a:cubicBezTo>
                  <a:cubicBezTo>
                    <a:pt x="84" y="247"/>
                    <a:pt x="93" y="246"/>
                    <a:pt x="102" y="243"/>
                  </a:cubicBezTo>
                  <a:cubicBezTo>
                    <a:pt x="78" y="238"/>
                    <a:pt x="59" y="227"/>
                    <a:pt x="43" y="208"/>
                  </a:cubicBezTo>
                  <a:cubicBezTo>
                    <a:pt x="28" y="190"/>
                    <a:pt x="20" y="168"/>
                    <a:pt x="20" y="143"/>
                  </a:cubicBezTo>
                  <a:lnTo>
                    <a:pt x="20" y="142"/>
                  </a:lnTo>
                  <a:cubicBezTo>
                    <a:pt x="35" y="150"/>
                    <a:pt x="50" y="154"/>
                    <a:pt x="66" y="155"/>
                  </a:cubicBezTo>
                  <a:cubicBezTo>
                    <a:pt x="52" y="146"/>
                    <a:pt x="41" y="134"/>
                    <a:pt x="33" y="119"/>
                  </a:cubicBezTo>
                  <a:cubicBezTo>
                    <a:pt x="25" y="104"/>
                    <a:pt x="21" y="88"/>
                    <a:pt x="21" y="70"/>
                  </a:cubicBezTo>
                  <a:cubicBezTo>
                    <a:pt x="21" y="52"/>
                    <a:pt x="26" y="35"/>
                    <a:pt x="35" y="19"/>
                  </a:cubicBezTo>
                  <a:cubicBezTo>
                    <a:pt x="60" y="50"/>
                    <a:pt x="91" y="75"/>
                    <a:pt x="128" y="94"/>
                  </a:cubicBezTo>
                  <a:cubicBezTo>
                    <a:pt x="164" y="113"/>
                    <a:pt x="203" y="123"/>
                    <a:pt x="245" y="125"/>
                  </a:cubicBezTo>
                  <a:cubicBezTo>
                    <a:pt x="243" y="117"/>
                    <a:pt x="242" y="110"/>
                    <a:pt x="242" y="102"/>
                  </a:cubicBezTo>
                  <a:cubicBezTo>
                    <a:pt x="242" y="74"/>
                    <a:pt x="252" y="50"/>
                    <a:pt x="272" y="30"/>
                  </a:cubicBezTo>
                  <a:cubicBezTo>
                    <a:pt x="292" y="10"/>
                    <a:pt x="316" y="0"/>
                    <a:pt x="344" y="0"/>
                  </a:cubicBezTo>
                  <a:cubicBezTo>
                    <a:pt x="373" y="0"/>
                    <a:pt x="398" y="11"/>
                    <a:pt x="418" y="33"/>
                  </a:cubicBezTo>
                  <a:cubicBezTo>
                    <a:pt x="441" y="28"/>
                    <a:pt x="463" y="20"/>
                    <a:pt x="483" y="8"/>
                  </a:cubicBezTo>
                  <a:cubicBezTo>
                    <a:pt x="475" y="32"/>
                    <a:pt x="460" y="51"/>
                    <a:pt x="438" y="64"/>
                  </a:cubicBezTo>
                  <a:cubicBezTo>
                    <a:pt x="458" y="62"/>
                    <a:pt x="477" y="57"/>
                    <a:pt x="497" y="48"/>
                  </a:cubicBezTo>
                  <a:cubicBezTo>
                    <a:pt x="483" y="69"/>
                    <a:pt x="465" y="86"/>
                    <a:pt x="446" y="101"/>
                  </a:cubicBezTo>
                  <a:cubicBezTo>
                    <a:pt x="446" y="104"/>
                    <a:pt x="446" y="108"/>
                    <a:pt x="446" y="114"/>
                  </a:cubicBezTo>
                  <a:cubicBezTo>
                    <a:pt x="446" y="141"/>
                    <a:pt x="442" y="169"/>
                    <a:pt x="434" y="196"/>
                  </a:cubicBezTo>
                  <a:cubicBezTo>
                    <a:pt x="426" y="223"/>
                    <a:pt x="414" y="249"/>
                    <a:pt x="398" y="274"/>
                  </a:cubicBezTo>
                  <a:cubicBezTo>
                    <a:pt x="381" y="299"/>
                    <a:pt x="362" y="321"/>
                    <a:pt x="339" y="340"/>
                  </a:cubicBezTo>
                  <a:cubicBezTo>
                    <a:pt x="317" y="360"/>
                    <a:pt x="290" y="375"/>
                    <a:pt x="258" y="386"/>
                  </a:cubicBezTo>
                  <a:cubicBezTo>
                    <a:pt x="226" y="398"/>
                    <a:pt x="193" y="404"/>
                    <a:pt x="156" y="404"/>
                  </a:cubicBezTo>
                  <a:cubicBezTo>
                    <a:pt x="99" y="404"/>
                    <a:pt x="47" y="388"/>
                    <a:pt x="0" y="358"/>
                  </a:cubicBezTo>
                  <a:close/>
                </a:path>
              </a:pathLst>
            </a:custGeom>
            <a:solidFill>
              <a:schemeClr val="tx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pic>
          <p:nvPicPr>
            <p:cNvPr id="6" name="Grafik 5" descr="Erdkugel: Afrika und Europa mit einfarbiger Füllung">
              <a:extLst>
                <a:ext uri="{FF2B5EF4-FFF2-40B4-BE49-F238E27FC236}">
                  <a16:creationId xmlns:a16="http://schemas.microsoft.com/office/drawing/2014/main" id="{031BDD71-CF2E-474E-A9AF-915F1830ED2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2743303" y="5857088"/>
              <a:ext cx="331100" cy="331100"/>
            </a:xfrm>
            <a:prstGeom prst="rect">
              <a:avLst/>
            </a:prstGeom>
          </p:spPr>
        </p:pic>
        <p:pic>
          <p:nvPicPr>
            <p:cNvPr id="161" name="Grafik 160" descr="E-Mail mit einfarbiger Füllung">
              <a:extLst>
                <a:ext uri="{FF2B5EF4-FFF2-40B4-BE49-F238E27FC236}">
                  <a16:creationId xmlns:a16="http://schemas.microsoft.com/office/drawing/2014/main" id="{2BC1E2C6-C0CE-41BD-B81D-4C7C3BBAF1B0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2773483" y="5141913"/>
              <a:ext cx="264408" cy="2644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18991791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5E0522E-4B59-4195-AD23-1DB4381AB6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4F31EF-6EA6-4A24-8992-69DC7A69151C}" type="datetime4">
              <a:rPr lang="de-DE" smtClean="0"/>
              <a:t>19. Dezember 2022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0F6FD0B-B0A5-4052-BAB6-95BD027E8C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Wirtschafts- und Sozialwissenschaften | WiSo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0385CA6-0215-4C6D-9658-F37EA26CE8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0" name="Textplatzhalter 6">
            <a:extLst>
              <a:ext uri="{FF2B5EF4-FFF2-40B4-BE49-F238E27FC236}">
                <a16:creationId xmlns:a16="http://schemas.microsoft.com/office/drawing/2014/main" id="{BF8056C4-F1A1-4860-B863-70A38CCE20D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48060" y="2354711"/>
            <a:ext cx="5039989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/>
              <a:t>Agendapunkt / Kapitelthema</a:t>
            </a:r>
          </a:p>
        </p:txBody>
      </p:sp>
      <p:sp>
        <p:nvSpPr>
          <p:cNvPr id="11" name="Textplatzhalter 6">
            <a:extLst>
              <a:ext uri="{FF2B5EF4-FFF2-40B4-BE49-F238E27FC236}">
                <a16:creationId xmlns:a16="http://schemas.microsoft.com/office/drawing/2014/main" id="{A4B92765-C038-4DB7-B6CF-33827BB8741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18318" y="2354711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02 </a:t>
            </a:r>
          </a:p>
        </p:txBody>
      </p:sp>
      <p:sp>
        <p:nvSpPr>
          <p:cNvPr id="12" name="Textplatzhalter 6">
            <a:extLst>
              <a:ext uri="{FF2B5EF4-FFF2-40B4-BE49-F238E27FC236}">
                <a16:creationId xmlns:a16="http://schemas.microsoft.com/office/drawing/2014/main" id="{B48DD939-0764-4598-B8A8-5EF7FD589AF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48060" y="4525376"/>
            <a:ext cx="5039989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/>
              <a:t>Agendapunkt / Kapitelthema</a:t>
            </a:r>
          </a:p>
        </p:txBody>
      </p:sp>
      <p:sp>
        <p:nvSpPr>
          <p:cNvPr id="13" name="Textplatzhalter 6">
            <a:extLst>
              <a:ext uri="{FF2B5EF4-FFF2-40B4-BE49-F238E27FC236}">
                <a16:creationId xmlns:a16="http://schemas.microsoft.com/office/drawing/2014/main" id="{0169AC75-2D8F-414A-A2F5-470DEC8B533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18318" y="4525376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05 </a:t>
            </a:r>
          </a:p>
        </p:txBody>
      </p:sp>
      <p:sp>
        <p:nvSpPr>
          <p:cNvPr id="17" name="Textplatzhalter 6">
            <a:extLst>
              <a:ext uri="{FF2B5EF4-FFF2-40B4-BE49-F238E27FC236}">
                <a16:creationId xmlns:a16="http://schemas.microsoft.com/office/drawing/2014/main" id="{78F9E3F2-C660-4ABB-83AF-3F5B3E2F770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48060" y="3078266"/>
            <a:ext cx="5039989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/>
              <a:t>Agendapunkt / Kapitelthema</a:t>
            </a:r>
          </a:p>
        </p:txBody>
      </p:sp>
      <p:sp>
        <p:nvSpPr>
          <p:cNvPr id="18" name="Textplatzhalter 6">
            <a:extLst>
              <a:ext uri="{FF2B5EF4-FFF2-40B4-BE49-F238E27FC236}">
                <a16:creationId xmlns:a16="http://schemas.microsoft.com/office/drawing/2014/main" id="{CAB2683D-D5E7-45B9-9133-F4CFD483FA9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18318" y="3078266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03 </a:t>
            </a:r>
          </a:p>
        </p:txBody>
      </p:sp>
      <p:sp>
        <p:nvSpPr>
          <p:cNvPr id="20" name="Textplatzhalter 6">
            <a:extLst>
              <a:ext uri="{FF2B5EF4-FFF2-40B4-BE49-F238E27FC236}">
                <a16:creationId xmlns:a16="http://schemas.microsoft.com/office/drawing/2014/main" id="{952E3AD3-9675-4713-A437-FEFA1B540023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48060" y="3801821"/>
            <a:ext cx="5039989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/>
              <a:t>Agendapunkt / Kapitelthema</a:t>
            </a:r>
          </a:p>
        </p:txBody>
      </p:sp>
      <p:sp>
        <p:nvSpPr>
          <p:cNvPr id="21" name="Textplatzhalter 6">
            <a:extLst>
              <a:ext uri="{FF2B5EF4-FFF2-40B4-BE49-F238E27FC236}">
                <a16:creationId xmlns:a16="http://schemas.microsoft.com/office/drawing/2014/main" id="{1852432A-5FDF-42C2-BC07-F1752012B84C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518318" y="3801821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04 </a:t>
            </a:r>
          </a:p>
        </p:txBody>
      </p:sp>
      <p:sp>
        <p:nvSpPr>
          <p:cNvPr id="24" name="Textplatzhalter 6">
            <a:extLst>
              <a:ext uri="{FF2B5EF4-FFF2-40B4-BE49-F238E27FC236}">
                <a16:creationId xmlns:a16="http://schemas.microsoft.com/office/drawing/2014/main" id="{B2468A8B-4816-458C-AEB6-53AB9CF88AF3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48060" y="5248930"/>
            <a:ext cx="5039989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/>
              <a:t>Agendapunkt / Kapitelthema</a:t>
            </a:r>
          </a:p>
        </p:txBody>
      </p:sp>
      <p:sp>
        <p:nvSpPr>
          <p:cNvPr id="25" name="Textplatzhalter 6">
            <a:extLst>
              <a:ext uri="{FF2B5EF4-FFF2-40B4-BE49-F238E27FC236}">
                <a16:creationId xmlns:a16="http://schemas.microsoft.com/office/drawing/2014/main" id="{F92C0AC2-BCD1-47F5-99DB-35823E79AB94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518318" y="5248930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06 </a:t>
            </a:r>
          </a:p>
        </p:txBody>
      </p:sp>
      <p:sp>
        <p:nvSpPr>
          <p:cNvPr id="26" name="Textplatzhalter 6">
            <a:extLst>
              <a:ext uri="{FF2B5EF4-FFF2-40B4-BE49-F238E27FC236}">
                <a16:creationId xmlns:a16="http://schemas.microsoft.com/office/drawing/2014/main" id="{6E5C8951-ED83-4B8D-A041-11DC6291DD84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636190" y="1632184"/>
            <a:ext cx="5039873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/>
              <a:t>Agendapunkt / Kapitelthema</a:t>
            </a:r>
          </a:p>
        </p:txBody>
      </p:sp>
      <p:sp>
        <p:nvSpPr>
          <p:cNvPr id="27" name="Textplatzhalter 6">
            <a:extLst>
              <a:ext uri="{FF2B5EF4-FFF2-40B4-BE49-F238E27FC236}">
                <a16:creationId xmlns:a16="http://schemas.microsoft.com/office/drawing/2014/main" id="{7D6B79FA-8C76-4CA9-AF55-F7541503ECB2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206332" y="1632184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07 </a:t>
            </a:r>
          </a:p>
        </p:txBody>
      </p:sp>
      <p:sp>
        <p:nvSpPr>
          <p:cNvPr id="28" name="Textplatzhalter 6">
            <a:extLst>
              <a:ext uri="{FF2B5EF4-FFF2-40B4-BE49-F238E27FC236}">
                <a16:creationId xmlns:a16="http://schemas.microsoft.com/office/drawing/2014/main" id="{89249A36-CB58-4007-8E81-30FA75194BA0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636190" y="2355533"/>
            <a:ext cx="5039873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/>
              <a:t>Agendapunkt / Kapitelthema</a:t>
            </a:r>
          </a:p>
        </p:txBody>
      </p:sp>
      <p:sp>
        <p:nvSpPr>
          <p:cNvPr id="29" name="Textplatzhalter 6">
            <a:extLst>
              <a:ext uri="{FF2B5EF4-FFF2-40B4-BE49-F238E27FC236}">
                <a16:creationId xmlns:a16="http://schemas.microsoft.com/office/drawing/2014/main" id="{953A9A61-99D0-44B5-89EB-1D1035F914BD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206332" y="2355533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08 </a:t>
            </a:r>
          </a:p>
        </p:txBody>
      </p:sp>
      <p:sp>
        <p:nvSpPr>
          <p:cNvPr id="30" name="Textplatzhalter 6">
            <a:extLst>
              <a:ext uri="{FF2B5EF4-FFF2-40B4-BE49-F238E27FC236}">
                <a16:creationId xmlns:a16="http://schemas.microsoft.com/office/drawing/2014/main" id="{E80B7F99-D2A6-486E-BB92-8192AB563EFC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636190" y="4525580"/>
            <a:ext cx="5039873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/>
              <a:t>Agendapunkt / Kapitelthema</a:t>
            </a:r>
          </a:p>
        </p:txBody>
      </p:sp>
      <p:sp>
        <p:nvSpPr>
          <p:cNvPr id="31" name="Textplatzhalter 6">
            <a:extLst>
              <a:ext uri="{FF2B5EF4-FFF2-40B4-BE49-F238E27FC236}">
                <a16:creationId xmlns:a16="http://schemas.microsoft.com/office/drawing/2014/main" id="{C08D70F6-D151-42E1-8F5E-DD5ADD0927D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206332" y="4525580"/>
            <a:ext cx="30784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11 </a:t>
            </a:r>
          </a:p>
        </p:txBody>
      </p:sp>
      <p:sp>
        <p:nvSpPr>
          <p:cNvPr id="32" name="Textplatzhalter 6">
            <a:extLst>
              <a:ext uri="{FF2B5EF4-FFF2-40B4-BE49-F238E27FC236}">
                <a16:creationId xmlns:a16="http://schemas.microsoft.com/office/drawing/2014/main" id="{34991AD2-EBFD-4358-9611-2BE7F693C7FF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6636190" y="3078882"/>
            <a:ext cx="5039873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/>
              <a:t>Agendapunkt / Kapitelthema</a:t>
            </a:r>
          </a:p>
        </p:txBody>
      </p:sp>
      <p:sp>
        <p:nvSpPr>
          <p:cNvPr id="33" name="Textplatzhalter 6">
            <a:extLst>
              <a:ext uri="{FF2B5EF4-FFF2-40B4-BE49-F238E27FC236}">
                <a16:creationId xmlns:a16="http://schemas.microsoft.com/office/drawing/2014/main" id="{E6132B6E-46AD-4F19-ACEF-FC5E2EBEEE72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206332" y="3078882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09 </a:t>
            </a:r>
          </a:p>
        </p:txBody>
      </p:sp>
      <p:sp>
        <p:nvSpPr>
          <p:cNvPr id="34" name="Textplatzhalter 6">
            <a:extLst>
              <a:ext uri="{FF2B5EF4-FFF2-40B4-BE49-F238E27FC236}">
                <a16:creationId xmlns:a16="http://schemas.microsoft.com/office/drawing/2014/main" id="{5B29B58B-9C14-4145-95A8-C62AC51F1A6E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6636190" y="3802231"/>
            <a:ext cx="5039873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/>
              <a:t>Agendapunkt / Kapitelthema</a:t>
            </a:r>
          </a:p>
        </p:txBody>
      </p:sp>
      <p:sp>
        <p:nvSpPr>
          <p:cNvPr id="35" name="Textplatzhalter 6">
            <a:extLst>
              <a:ext uri="{FF2B5EF4-FFF2-40B4-BE49-F238E27FC236}">
                <a16:creationId xmlns:a16="http://schemas.microsoft.com/office/drawing/2014/main" id="{5E6DB4F9-1F61-4B1E-8694-CF32F6ABEB8F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6206332" y="3802231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10 </a:t>
            </a:r>
          </a:p>
        </p:txBody>
      </p:sp>
      <p:sp>
        <p:nvSpPr>
          <p:cNvPr id="36" name="Textplatzhalter 6">
            <a:extLst>
              <a:ext uri="{FF2B5EF4-FFF2-40B4-BE49-F238E27FC236}">
                <a16:creationId xmlns:a16="http://schemas.microsoft.com/office/drawing/2014/main" id="{F139CCA6-FA40-4FAD-991E-8F0D932F40B0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6636190" y="5248930"/>
            <a:ext cx="5039873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/>
              <a:t>Agendapunkt / Kapitelthema</a:t>
            </a:r>
          </a:p>
        </p:txBody>
      </p:sp>
      <p:sp>
        <p:nvSpPr>
          <p:cNvPr id="37" name="Textplatzhalter 6">
            <a:extLst>
              <a:ext uri="{FF2B5EF4-FFF2-40B4-BE49-F238E27FC236}">
                <a16:creationId xmlns:a16="http://schemas.microsoft.com/office/drawing/2014/main" id="{4ABC58A4-2FF6-4DD6-B7CE-07D57A9854B7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6206332" y="5248930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12 </a:t>
            </a:r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B83D1D4D-3108-48AF-9002-E2787CA11C4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8318" y="301185"/>
            <a:ext cx="6844385" cy="332399"/>
          </a:xfrm>
        </p:spPr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8" name="Textplatzhalter 9">
            <a:extLst>
              <a:ext uri="{FF2B5EF4-FFF2-40B4-BE49-F238E27FC236}">
                <a16:creationId xmlns:a16="http://schemas.microsoft.com/office/drawing/2014/main" id="{37A4DE60-6537-42AA-B80E-663634EF66B9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518317" y="687598"/>
            <a:ext cx="6844385" cy="249812"/>
          </a:xfrm>
        </p:spPr>
        <p:txBody>
          <a:bodyPr wrap="square">
            <a:spAutoFit/>
          </a:bodyPr>
          <a:lstStyle>
            <a:lvl1pPr>
              <a:defRPr sz="1600">
                <a:solidFill>
                  <a:schemeClr val="accent3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9" name="Textplatzhalter 6">
            <a:extLst>
              <a:ext uri="{FF2B5EF4-FFF2-40B4-BE49-F238E27FC236}">
                <a16:creationId xmlns:a16="http://schemas.microsoft.com/office/drawing/2014/main" id="{D6F3326C-A71E-4096-84A9-CBF2623C8CD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48060" y="1631156"/>
            <a:ext cx="5039989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/>
              <a:t>Agendapunkt / Kapitelthema</a:t>
            </a:r>
          </a:p>
        </p:txBody>
      </p:sp>
      <p:sp>
        <p:nvSpPr>
          <p:cNvPr id="40" name="Textplatzhalter 6">
            <a:extLst>
              <a:ext uri="{FF2B5EF4-FFF2-40B4-BE49-F238E27FC236}">
                <a16:creationId xmlns:a16="http://schemas.microsoft.com/office/drawing/2014/main" id="{E6C7796D-6ED1-4B91-AD58-8FB5EA6F6F8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18318" y="1631156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01 </a:t>
            </a:r>
          </a:p>
        </p:txBody>
      </p:sp>
      <p:sp>
        <p:nvSpPr>
          <p:cNvPr id="7" name="Bildplatzhalter 6">
            <a:extLst>
              <a:ext uri="{FF2B5EF4-FFF2-40B4-BE49-F238E27FC236}">
                <a16:creationId xmlns:a16="http://schemas.microsoft.com/office/drawing/2014/main" id="{86D31599-AF4C-4469-80F6-AA369A20BF0B}"/>
              </a:ext>
            </a:extLst>
          </p:cNvPr>
          <p:cNvSpPr>
            <a:spLocks noGrp="1"/>
          </p:cNvSpPr>
          <p:nvPr>
            <p:ph type="pic" sz="quarter" idx="38" hasCustomPrompt="1"/>
          </p:nvPr>
        </p:nvSpPr>
        <p:spPr>
          <a:xfrm>
            <a:off x="8437356" y="301185"/>
            <a:ext cx="1080000" cy="386413"/>
          </a:xfrm>
        </p:spPr>
        <p:txBody>
          <a:bodyPr rIns="0" anchor="ctr" anchorCtr="0">
            <a:normAutofit/>
          </a:bodyPr>
          <a:lstStyle>
            <a:lvl1pPr algn="ctr">
              <a:defRPr sz="800">
                <a:solidFill>
                  <a:schemeClr val="accent6"/>
                </a:solidFill>
              </a:defRPr>
            </a:lvl1pPr>
          </a:lstStyle>
          <a:p>
            <a:r>
              <a:rPr lang="de-DE"/>
              <a:t>Optional Logo einfügen</a:t>
            </a:r>
          </a:p>
        </p:txBody>
      </p:sp>
    </p:spTree>
    <p:extLst>
      <p:ext uri="{BB962C8B-B14F-4D97-AF65-F5344CB8AC3E}">
        <p14:creationId xmlns:p14="http://schemas.microsoft.com/office/powerpoint/2010/main" val="338353861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bild | mit Trebbla">
    <p:bg bwMode="black"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FCB49CBC-F4F1-4727-AA52-334118E159D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692572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10" imgH="312" progId="TCLayout.ActiveDocument.1">
                  <p:embed/>
                </p:oleObj>
              </mc:Choice>
              <mc:Fallback>
                <p:oleObj name="think-cell Folie" r:id="rId3" imgW="310" imgH="312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FCB49CBC-F4F1-4727-AA52-334118E159D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1" name="Grafik 100">
            <a:extLst>
              <a:ext uri="{FF2B5EF4-FFF2-40B4-BE49-F238E27FC236}">
                <a16:creationId xmlns:a16="http://schemas.microsoft.com/office/drawing/2014/main" id="{C44A4287-4BD1-4B84-9833-77C48593B1B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1628775"/>
            <a:ext cx="12192000" cy="5229225"/>
          </a:xfrm>
          <a:prstGeom prst="rect">
            <a:avLst/>
          </a:prstGeom>
        </p:spPr>
      </p:pic>
      <p:sp>
        <p:nvSpPr>
          <p:cNvPr id="9" name="Rechteck 8">
            <a:extLst>
              <a:ext uri="{FF2B5EF4-FFF2-40B4-BE49-F238E27FC236}">
                <a16:creationId xmlns:a16="http://schemas.microsoft.com/office/drawing/2014/main" id="{9BA40D48-5FB8-4B6E-9DD1-E2077FDD1880}"/>
              </a:ext>
            </a:extLst>
          </p:cNvPr>
          <p:cNvSpPr/>
          <p:nvPr userDrawn="1"/>
        </p:nvSpPr>
        <p:spPr bwMode="invGray">
          <a:xfrm>
            <a:off x="0" y="1628775"/>
            <a:ext cx="12192000" cy="5229225"/>
          </a:xfrm>
          <a:prstGeom prst="rect">
            <a:avLst/>
          </a:prstGeom>
          <a:solidFill>
            <a:srgbClr val="000000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t" anchorCtr="0"/>
          <a:lstStyle/>
          <a:p>
            <a:pPr marL="0" marR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" name="Freihandform: Form 5">
            <a:extLst>
              <a:ext uri="{FF2B5EF4-FFF2-40B4-BE49-F238E27FC236}">
                <a16:creationId xmlns:a16="http://schemas.microsoft.com/office/drawing/2014/main" id="{DB0B422D-422E-4796-8EA3-E0C93BC35646}"/>
              </a:ext>
            </a:extLst>
          </p:cNvPr>
          <p:cNvSpPr/>
          <p:nvPr/>
        </p:nvSpPr>
        <p:spPr>
          <a:xfrm>
            <a:off x="10056938" y="300703"/>
            <a:ext cx="1619125" cy="618155"/>
          </a:xfrm>
          <a:custGeom>
            <a:avLst/>
            <a:gdLst>
              <a:gd name="connsiteX0" fmla="*/ 0 w 1456912"/>
              <a:gd name="connsiteY0" fmla="*/ 51854 h 556225"/>
              <a:gd name="connsiteX1" fmla="*/ 28188 w 1456912"/>
              <a:gd name="connsiteY1" fmla="*/ 23666 h 556225"/>
              <a:gd name="connsiteX2" fmla="*/ 28188 w 1456912"/>
              <a:gd name="connsiteY2" fmla="*/ 535557 h 556225"/>
              <a:gd name="connsiteX3" fmla="*/ 0 w 1456912"/>
              <a:gd name="connsiteY3" fmla="*/ 535557 h 556225"/>
              <a:gd name="connsiteX4" fmla="*/ 0 w 1456912"/>
              <a:gd name="connsiteY4" fmla="*/ 51854 h 556225"/>
              <a:gd name="connsiteX5" fmla="*/ 84564 w 1456912"/>
              <a:gd name="connsiteY5" fmla="*/ 28188 h 556225"/>
              <a:gd name="connsiteX6" fmla="*/ 422811 w 1456912"/>
              <a:gd name="connsiteY6" fmla="*/ 28188 h 556225"/>
              <a:gd name="connsiteX7" fmla="*/ 422811 w 1456912"/>
              <a:gd name="connsiteY7" fmla="*/ 0 h 556225"/>
              <a:gd name="connsiteX8" fmla="*/ 56376 w 1456912"/>
              <a:gd name="connsiteY8" fmla="*/ 0 h 556225"/>
              <a:gd name="connsiteX9" fmla="*/ 56376 w 1456912"/>
              <a:gd name="connsiteY9" fmla="*/ 338244 h 556225"/>
              <a:gd name="connsiteX10" fmla="*/ 367711 w 1456912"/>
              <a:gd name="connsiteY10" fmla="*/ 338244 h 556225"/>
              <a:gd name="connsiteX11" fmla="*/ 367711 w 1456912"/>
              <a:gd name="connsiteY11" fmla="*/ 310062 h 556225"/>
              <a:gd name="connsiteX12" fmla="*/ 84564 w 1456912"/>
              <a:gd name="connsiteY12" fmla="*/ 310062 h 556225"/>
              <a:gd name="connsiteX13" fmla="*/ 84564 w 1456912"/>
              <a:gd name="connsiteY13" fmla="*/ 28188 h 556225"/>
              <a:gd name="connsiteX14" fmla="*/ 410152 w 1456912"/>
              <a:gd name="connsiteY14" fmla="*/ 253686 h 556225"/>
              <a:gd name="connsiteX15" fmla="*/ 140937 w 1456912"/>
              <a:gd name="connsiteY15" fmla="*/ 253686 h 556225"/>
              <a:gd name="connsiteX16" fmla="*/ 140937 w 1456912"/>
              <a:gd name="connsiteY16" fmla="*/ 140940 h 556225"/>
              <a:gd name="connsiteX17" fmla="*/ 371171 w 1456912"/>
              <a:gd name="connsiteY17" fmla="*/ 140940 h 556225"/>
              <a:gd name="connsiteX18" fmla="*/ 399359 w 1456912"/>
              <a:gd name="connsiteY18" fmla="*/ 112752 h 556225"/>
              <a:gd name="connsiteX19" fmla="*/ 140937 w 1456912"/>
              <a:gd name="connsiteY19" fmla="*/ 112752 h 556225"/>
              <a:gd name="connsiteX20" fmla="*/ 140937 w 1456912"/>
              <a:gd name="connsiteY20" fmla="*/ 84564 h 556225"/>
              <a:gd name="connsiteX21" fmla="*/ 422811 w 1456912"/>
              <a:gd name="connsiteY21" fmla="*/ 84564 h 556225"/>
              <a:gd name="connsiteX22" fmla="*/ 422811 w 1456912"/>
              <a:gd name="connsiteY22" fmla="*/ 56376 h 556225"/>
              <a:gd name="connsiteX23" fmla="*/ 112749 w 1456912"/>
              <a:gd name="connsiteY23" fmla="*/ 56376 h 556225"/>
              <a:gd name="connsiteX24" fmla="*/ 112749 w 1456912"/>
              <a:gd name="connsiteY24" fmla="*/ 281874 h 556225"/>
              <a:gd name="connsiteX25" fmla="*/ 382334 w 1456912"/>
              <a:gd name="connsiteY25" fmla="*/ 281874 h 556225"/>
              <a:gd name="connsiteX26" fmla="*/ 410152 w 1456912"/>
              <a:gd name="connsiteY26" fmla="*/ 253686 h 556225"/>
              <a:gd name="connsiteX27" fmla="*/ 56376 w 1456912"/>
              <a:gd name="connsiteY27" fmla="*/ 535557 h 556225"/>
              <a:gd name="connsiteX28" fmla="*/ 84564 w 1456912"/>
              <a:gd name="connsiteY28" fmla="*/ 535557 h 556225"/>
              <a:gd name="connsiteX29" fmla="*/ 84564 w 1456912"/>
              <a:gd name="connsiteY29" fmla="*/ 394620 h 556225"/>
              <a:gd name="connsiteX30" fmla="*/ 112752 w 1456912"/>
              <a:gd name="connsiteY30" fmla="*/ 394620 h 556225"/>
              <a:gd name="connsiteX31" fmla="*/ 112752 w 1456912"/>
              <a:gd name="connsiteY31" fmla="*/ 511890 h 556225"/>
              <a:gd name="connsiteX32" fmla="*/ 140940 w 1456912"/>
              <a:gd name="connsiteY32" fmla="*/ 483705 h 556225"/>
              <a:gd name="connsiteX33" fmla="*/ 140940 w 1456912"/>
              <a:gd name="connsiteY33" fmla="*/ 394620 h 556225"/>
              <a:gd name="connsiteX34" fmla="*/ 367714 w 1456912"/>
              <a:gd name="connsiteY34" fmla="*/ 394620 h 556225"/>
              <a:gd name="connsiteX35" fmla="*/ 367714 w 1456912"/>
              <a:gd name="connsiteY35" fmla="*/ 366435 h 556225"/>
              <a:gd name="connsiteX36" fmla="*/ 56376 w 1456912"/>
              <a:gd name="connsiteY36" fmla="*/ 366435 h 556225"/>
              <a:gd name="connsiteX37" fmla="*/ 56376 w 1456912"/>
              <a:gd name="connsiteY37" fmla="*/ 535557 h 556225"/>
              <a:gd name="connsiteX38" fmla="*/ 1428724 w 1456912"/>
              <a:gd name="connsiteY38" fmla="*/ 0 h 556225"/>
              <a:gd name="connsiteX39" fmla="*/ 1428724 w 1456912"/>
              <a:gd name="connsiteY39" fmla="*/ 324156 h 556225"/>
              <a:gd name="connsiteX40" fmla="*/ 1316539 w 1456912"/>
              <a:gd name="connsiteY40" fmla="*/ 514089 h 556225"/>
              <a:gd name="connsiteX41" fmla="*/ 1315903 w 1456912"/>
              <a:gd name="connsiteY41" fmla="*/ 513258 h 556225"/>
              <a:gd name="connsiteX42" fmla="*/ 1400536 w 1456912"/>
              <a:gd name="connsiteY42" fmla="*/ 351869 h 556225"/>
              <a:gd name="connsiteX43" fmla="*/ 1400536 w 1456912"/>
              <a:gd name="connsiteY43" fmla="*/ 3 h 556225"/>
              <a:gd name="connsiteX44" fmla="*/ 1372348 w 1456912"/>
              <a:gd name="connsiteY44" fmla="*/ 3 h 556225"/>
              <a:gd name="connsiteX45" fmla="*/ 1372348 w 1456912"/>
              <a:gd name="connsiteY45" fmla="*/ 351400 h 556225"/>
              <a:gd name="connsiteX46" fmla="*/ 1189132 w 1456912"/>
              <a:gd name="connsiteY46" fmla="*/ 528510 h 556225"/>
              <a:gd name="connsiteX47" fmla="*/ 1005916 w 1456912"/>
              <a:gd name="connsiteY47" fmla="*/ 351400 h 556225"/>
              <a:gd name="connsiteX48" fmla="*/ 1005916 w 1456912"/>
              <a:gd name="connsiteY48" fmla="*/ 23666 h 556225"/>
              <a:gd name="connsiteX49" fmla="*/ 977728 w 1456912"/>
              <a:gd name="connsiteY49" fmla="*/ 51854 h 556225"/>
              <a:gd name="connsiteX50" fmla="*/ 977728 w 1456912"/>
              <a:gd name="connsiteY50" fmla="*/ 351869 h 556225"/>
              <a:gd name="connsiteX51" fmla="*/ 1189132 w 1456912"/>
              <a:gd name="connsiteY51" fmla="*/ 556226 h 556225"/>
              <a:gd name="connsiteX52" fmla="*/ 1217320 w 1456912"/>
              <a:gd name="connsiteY52" fmla="*/ 556226 h 556225"/>
              <a:gd name="connsiteX53" fmla="*/ 1456912 w 1456912"/>
              <a:gd name="connsiteY53" fmla="*/ 324566 h 556225"/>
              <a:gd name="connsiteX54" fmla="*/ 1456912 w 1456912"/>
              <a:gd name="connsiteY54" fmla="*/ 0 h 556225"/>
              <a:gd name="connsiteX55" fmla="*/ 1428724 w 1456912"/>
              <a:gd name="connsiteY55" fmla="*/ 0 h 556225"/>
              <a:gd name="connsiteX56" fmla="*/ 1189132 w 1456912"/>
              <a:gd name="connsiteY56" fmla="*/ 500322 h 556225"/>
              <a:gd name="connsiteX57" fmla="*/ 1344160 w 1456912"/>
              <a:gd name="connsiteY57" fmla="*/ 351400 h 556225"/>
              <a:gd name="connsiteX58" fmla="*/ 1344160 w 1456912"/>
              <a:gd name="connsiteY58" fmla="*/ 351400 h 556225"/>
              <a:gd name="connsiteX59" fmla="*/ 1344160 w 1456912"/>
              <a:gd name="connsiteY59" fmla="*/ 23666 h 556225"/>
              <a:gd name="connsiteX60" fmla="*/ 1315972 w 1456912"/>
              <a:gd name="connsiteY60" fmla="*/ 51854 h 556225"/>
              <a:gd name="connsiteX61" fmla="*/ 1315972 w 1456912"/>
              <a:gd name="connsiteY61" fmla="*/ 324153 h 556225"/>
              <a:gd name="connsiteX62" fmla="*/ 1217317 w 1456912"/>
              <a:gd name="connsiteY62" fmla="*/ 415761 h 556225"/>
              <a:gd name="connsiteX63" fmla="*/ 1118662 w 1456912"/>
              <a:gd name="connsiteY63" fmla="*/ 324153 h 556225"/>
              <a:gd name="connsiteX64" fmla="*/ 1118662 w 1456912"/>
              <a:gd name="connsiteY64" fmla="*/ 3 h 556225"/>
              <a:gd name="connsiteX65" fmla="*/ 1090474 w 1456912"/>
              <a:gd name="connsiteY65" fmla="*/ 3 h 556225"/>
              <a:gd name="connsiteX66" fmla="*/ 1090474 w 1456912"/>
              <a:gd name="connsiteY66" fmla="*/ 324156 h 556225"/>
              <a:gd name="connsiteX67" fmla="*/ 1217317 w 1456912"/>
              <a:gd name="connsiteY67" fmla="*/ 443951 h 556225"/>
              <a:gd name="connsiteX68" fmla="*/ 1304349 w 1456912"/>
              <a:gd name="connsiteY68" fmla="*/ 404889 h 556225"/>
              <a:gd name="connsiteX69" fmla="*/ 1304982 w 1456912"/>
              <a:gd name="connsiteY69" fmla="*/ 405720 h 556225"/>
              <a:gd name="connsiteX70" fmla="*/ 1189129 w 1456912"/>
              <a:gd name="connsiteY70" fmla="*/ 472139 h 556225"/>
              <a:gd name="connsiteX71" fmla="*/ 1062303 w 1456912"/>
              <a:gd name="connsiteY71" fmla="*/ 352344 h 556225"/>
              <a:gd name="connsiteX72" fmla="*/ 1062286 w 1456912"/>
              <a:gd name="connsiteY72" fmla="*/ 352344 h 556225"/>
              <a:gd name="connsiteX73" fmla="*/ 1062286 w 1456912"/>
              <a:gd name="connsiteY73" fmla="*/ 3 h 556225"/>
              <a:gd name="connsiteX74" fmla="*/ 1034098 w 1456912"/>
              <a:gd name="connsiteY74" fmla="*/ 3 h 556225"/>
              <a:gd name="connsiteX75" fmla="*/ 1034098 w 1456912"/>
              <a:gd name="connsiteY75" fmla="*/ 352341 h 556225"/>
              <a:gd name="connsiteX76" fmla="*/ 1034113 w 1456912"/>
              <a:gd name="connsiteY76" fmla="*/ 352341 h 556225"/>
              <a:gd name="connsiteX77" fmla="*/ 1189132 w 1456912"/>
              <a:gd name="connsiteY77" fmla="*/ 500322 h 556225"/>
              <a:gd name="connsiteX78" fmla="*/ 562774 w 1456912"/>
              <a:gd name="connsiteY78" fmla="*/ 366435 h 556225"/>
              <a:gd name="connsiteX79" fmla="*/ 491494 w 1456912"/>
              <a:gd name="connsiteY79" fmla="*/ 535557 h 556225"/>
              <a:gd name="connsiteX80" fmla="*/ 519684 w 1456912"/>
              <a:gd name="connsiteY80" fmla="*/ 535554 h 556225"/>
              <a:gd name="connsiteX81" fmla="*/ 519682 w 1456912"/>
              <a:gd name="connsiteY81" fmla="*/ 535557 h 556225"/>
              <a:gd name="connsiteX82" fmla="*/ 519684 w 1456912"/>
              <a:gd name="connsiteY82" fmla="*/ 535557 h 556225"/>
              <a:gd name="connsiteX83" fmla="*/ 555322 w 1456912"/>
              <a:gd name="connsiteY83" fmla="*/ 450996 h 556225"/>
              <a:gd name="connsiteX84" fmla="*/ 794138 w 1456912"/>
              <a:gd name="connsiteY84" fmla="*/ 450996 h 556225"/>
              <a:gd name="connsiteX85" fmla="*/ 829744 w 1456912"/>
              <a:gd name="connsiteY85" fmla="*/ 535557 h 556225"/>
              <a:gd name="connsiteX86" fmla="*/ 857932 w 1456912"/>
              <a:gd name="connsiteY86" fmla="*/ 535557 h 556225"/>
              <a:gd name="connsiteX87" fmla="*/ 810457 w 1456912"/>
              <a:gd name="connsiteY87" fmla="*/ 422808 h 556225"/>
              <a:gd name="connsiteX88" fmla="*/ 567200 w 1456912"/>
              <a:gd name="connsiteY88" fmla="*/ 422808 h 556225"/>
              <a:gd name="connsiteX89" fmla="*/ 579078 w 1456912"/>
              <a:gd name="connsiteY89" fmla="*/ 394620 h 556225"/>
              <a:gd name="connsiteX90" fmla="*/ 826776 w 1456912"/>
              <a:gd name="connsiteY90" fmla="*/ 394620 h 556225"/>
              <a:gd name="connsiteX91" fmla="*/ 886120 w 1456912"/>
              <a:gd name="connsiteY91" fmla="*/ 535557 h 556225"/>
              <a:gd name="connsiteX92" fmla="*/ 914308 w 1456912"/>
              <a:gd name="connsiteY92" fmla="*/ 535557 h 556225"/>
              <a:gd name="connsiteX93" fmla="*/ 843097 w 1456912"/>
              <a:gd name="connsiteY93" fmla="*/ 366435 h 556225"/>
              <a:gd name="connsiteX94" fmla="*/ 562774 w 1456912"/>
              <a:gd name="connsiteY94" fmla="*/ 366435 h 556225"/>
              <a:gd name="connsiteX95" fmla="*/ 604248 w 1456912"/>
              <a:gd name="connsiteY95" fmla="*/ 0 h 556225"/>
              <a:gd name="connsiteX96" fmla="*/ 397091 w 1456912"/>
              <a:gd name="connsiteY96" fmla="*/ 491374 h 556225"/>
              <a:gd name="connsiteX97" fmla="*/ 415032 w 1456912"/>
              <a:gd name="connsiteY97" fmla="*/ 515732 h 556225"/>
              <a:gd name="connsiteX98" fmla="*/ 632437 w 1456912"/>
              <a:gd name="connsiteY98" fmla="*/ 0 h 556225"/>
              <a:gd name="connsiteX99" fmla="*/ 604248 w 1456912"/>
              <a:gd name="connsiteY99" fmla="*/ 0 h 556225"/>
              <a:gd name="connsiteX100" fmla="*/ 716998 w 1456912"/>
              <a:gd name="connsiteY100" fmla="*/ 3 h 556225"/>
              <a:gd name="connsiteX101" fmla="*/ 934130 w 1456912"/>
              <a:gd name="connsiteY101" fmla="*/ 515735 h 556225"/>
              <a:gd name="connsiteX102" fmla="*/ 952028 w 1456912"/>
              <a:gd name="connsiteY102" fmla="*/ 491377 h 556225"/>
              <a:gd name="connsiteX103" fmla="*/ 745186 w 1456912"/>
              <a:gd name="connsiteY103" fmla="*/ 3 h 556225"/>
              <a:gd name="connsiteX104" fmla="*/ 716998 w 1456912"/>
              <a:gd name="connsiteY104" fmla="*/ 3 h 556225"/>
              <a:gd name="connsiteX105" fmla="*/ 546409 w 1456912"/>
              <a:gd name="connsiteY105" fmla="*/ 338247 h 556225"/>
              <a:gd name="connsiteX106" fmla="*/ 463042 w 1456912"/>
              <a:gd name="connsiteY106" fmla="*/ 535557 h 556225"/>
              <a:gd name="connsiteX107" fmla="*/ 434854 w 1456912"/>
              <a:gd name="connsiteY107" fmla="*/ 535557 h 556225"/>
              <a:gd name="connsiteX108" fmla="*/ 646528 w 1456912"/>
              <a:gd name="connsiteY108" fmla="*/ 33467 h 556225"/>
              <a:gd name="connsiteX109" fmla="*/ 762988 w 1456912"/>
              <a:gd name="connsiteY109" fmla="*/ 310059 h 556225"/>
              <a:gd name="connsiteX110" fmla="*/ 791176 w 1456912"/>
              <a:gd name="connsiteY110" fmla="*/ 310059 h 556225"/>
              <a:gd name="connsiteX111" fmla="*/ 660624 w 1456912"/>
              <a:gd name="connsiteY111" fmla="*/ 3 h 556225"/>
              <a:gd name="connsiteX112" fmla="*/ 688812 w 1456912"/>
              <a:gd name="connsiteY112" fmla="*/ 3 h 556225"/>
              <a:gd name="connsiteX113" fmla="*/ 831231 w 1456912"/>
              <a:gd name="connsiteY113" fmla="*/ 338247 h 556225"/>
              <a:gd name="connsiteX114" fmla="*/ 546409 w 1456912"/>
              <a:gd name="connsiteY114" fmla="*/ 338247 h 556225"/>
              <a:gd name="connsiteX115" fmla="*/ 674788 w 1456912"/>
              <a:gd name="connsiteY115" fmla="*/ 167531 h 556225"/>
              <a:gd name="connsiteX116" fmla="*/ 614721 w 1456912"/>
              <a:gd name="connsiteY116" fmla="*/ 310062 h 556225"/>
              <a:gd name="connsiteX117" fmla="*/ 734800 w 1456912"/>
              <a:gd name="connsiteY117" fmla="*/ 310062 h 556225"/>
              <a:gd name="connsiteX118" fmla="*/ 674788 w 1456912"/>
              <a:gd name="connsiteY118" fmla="*/ 167531 h 556225"/>
              <a:gd name="connsiteX119" fmla="*/ 558275 w 1456912"/>
              <a:gd name="connsiteY119" fmla="*/ 310062 h 556225"/>
              <a:gd name="connsiteX120" fmla="*/ 586535 w 1456912"/>
              <a:gd name="connsiteY120" fmla="*/ 310062 h 556225"/>
              <a:gd name="connsiteX121" fmla="*/ 660703 w 1456912"/>
              <a:gd name="connsiteY121" fmla="*/ 134072 h 556225"/>
              <a:gd name="connsiteX122" fmla="*/ 646588 w 1456912"/>
              <a:gd name="connsiteY122" fmla="*/ 100553 h 556225"/>
              <a:gd name="connsiteX123" fmla="*/ 558275 w 1456912"/>
              <a:gd name="connsiteY123" fmla="*/ 310062 h 5562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</a:cxnLst>
            <a:rect l="l" t="t" r="r" b="b"/>
            <a:pathLst>
              <a:path w="1456912" h="556225">
                <a:moveTo>
                  <a:pt x="0" y="51854"/>
                </a:moveTo>
                <a:lnTo>
                  <a:pt x="28188" y="23666"/>
                </a:lnTo>
                <a:lnTo>
                  <a:pt x="28188" y="535557"/>
                </a:lnTo>
                <a:lnTo>
                  <a:pt x="0" y="535557"/>
                </a:lnTo>
                <a:lnTo>
                  <a:pt x="0" y="51854"/>
                </a:lnTo>
                <a:close/>
                <a:moveTo>
                  <a:pt x="84564" y="28188"/>
                </a:moveTo>
                <a:lnTo>
                  <a:pt x="422811" y="28188"/>
                </a:lnTo>
                <a:lnTo>
                  <a:pt x="422811" y="0"/>
                </a:lnTo>
                <a:lnTo>
                  <a:pt x="56376" y="0"/>
                </a:lnTo>
                <a:lnTo>
                  <a:pt x="56376" y="338244"/>
                </a:lnTo>
                <a:lnTo>
                  <a:pt x="367711" y="338244"/>
                </a:lnTo>
                <a:lnTo>
                  <a:pt x="367711" y="310062"/>
                </a:lnTo>
                <a:lnTo>
                  <a:pt x="84564" y="310062"/>
                </a:lnTo>
                <a:lnTo>
                  <a:pt x="84564" y="28188"/>
                </a:lnTo>
                <a:close/>
                <a:moveTo>
                  <a:pt x="410152" y="253686"/>
                </a:moveTo>
                <a:lnTo>
                  <a:pt x="140937" y="253686"/>
                </a:lnTo>
                <a:lnTo>
                  <a:pt x="140937" y="140940"/>
                </a:lnTo>
                <a:lnTo>
                  <a:pt x="371171" y="140940"/>
                </a:lnTo>
                <a:lnTo>
                  <a:pt x="399359" y="112752"/>
                </a:lnTo>
                <a:lnTo>
                  <a:pt x="140937" y="112752"/>
                </a:lnTo>
                <a:lnTo>
                  <a:pt x="140937" y="84564"/>
                </a:lnTo>
                <a:lnTo>
                  <a:pt x="422811" y="84564"/>
                </a:lnTo>
                <a:lnTo>
                  <a:pt x="422811" y="56376"/>
                </a:lnTo>
                <a:lnTo>
                  <a:pt x="112749" y="56376"/>
                </a:lnTo>
                <a:lnTo>
                  <a:pt x="112749" y="281874"/>
                </a:lnTo>
                <a:lnTo>
                  <a:pt x="382334" y="281874"/>
                </a:lnTo>
                <a:lnTo>
                  <a:pt x="410152" y="253686"/>
                </a:lnTo>
                <a:close/>
                <a:moveTo>
                  <a:pt x="56376" y="535557"/>
                </a:moveTo>
                <a:lnTo>
                  <a:pt x="84564" y="535557"/>
                </a:lnTo>
                <a:lnTo>
                  <a:pt x="84564" y="394620"/>
                </a:lnTo>
                <a:lnTo>
                  <a:pt x="112752" y="394620"/>
                </a:lnTo>
                <a:lnTo>
                  <a:pt x="112752" y="511890"/>
                </a:lnTo>
                <a:lnTo>
                  <a:pt x="140940" y="483705"/>
                </a:lnTo>
                <a:lnTo>
                  <a:pt x="140940" y="394620"/>
                </a:lnTo>
                <a:lnTo>
                  <a:pt x="367714" y="394620"/>
                </a:lnTo>
                <a:lnTo>
                  <a:pt x="367714" y="366435"/>
                </a:lnTo>
                <a:lnTo>
                  <a:pt x="56376" y="366435"/>
                </a:lnTo>
                <a:lnTo>
                  <a:pt x="56376" y="535557"/>
                </a:lnTo>
                <a:close/>
                <a:moveTo>
                  <a:pt x="1428724" y="0"/>
                </a:moveTo>
                <a:lnTo>
                  <a:pt x="1428724" y="324156"/>
                </a:lnTo>
                <a:cubicBezTo>
                  <a:pt x="1428724" y="399584"/>
                  <a:pt x="1395069" y="464387"/>
                  <a:pt x="1316539" y="514089"/>
                </a:cubicBezTo>
                <a:lnTo>
                  <a:pt x="1315903" y="513258"/>
                </a:lnTo>
                <a:cubicBezTo>
                  <a:pt x="1367503" y="472336"/>
                  <a:pt x="1400536" y="419773"/>
                  <a:pt x="1400536" y="351869"/>
                </a:cubicBezTo>
                <a:lnTo>
                  <a:pt x="1400536" y="3"/>
                </a:lnTo>
                <a:lnTo>
                  <a:pt x="1372348" y="3"/>
                </a:lnTo>
                <a:lnTo>
                  <a:pt x="1372348" y="351400"/>
                </a:lnTo>
                <a:cubicBezTo>
                  <a:pt x="1372348" y="452590"/>
                  <a:pt x="1290318" y="528510"/>
                  <a:pt x="1189132" y="528510"/>
                </a:cubicBezTo>
                <a:cubicBezTo>
                  <a:pt x="1087946" y="528510"/>
                  <a:pt x="1005916" y="452587"/>
                  <a:pt x="1005916" y="351400"/>
                </a:cubicBezTo>
                <a:lnTo>
                  <a:pt x="1005916" y="23666"/>
                </a:lnTo>
                <a:lnTo>
                  <a:pt x="977728" y="51854"/>
                </a:lnTo>
                <a:lnTo>
                  <a:pt x="977728" y="351869"/>
                </a:lnTo>
                <a:cubicBezTo>
                  <a:pt x="977728" y="468625"/>
                  <a:pt x="1072376" y="556226"/>
                  <a:pt x="1189132" y="556226"/>
                </a:cubicBezTo>
                <a:cubicBezTo>
                  <a:pt x="1191834" y="556226"/>
                  <a:pt x="1217320" y="556226"/>
                  <a:pt x="1217320" y="556226"/>
                </a:cubicBezTo>
                <a:cubicBezTo>
                  <a:pt x="1332291" y="556226"/>
                  <a:pt x="1456912" y="471321"/>
                  <a:pt x="1456912" y="324566"/>
                </a:cubicBezTo>
                <a:cubicBezTo>
                  <a:pt x="1456912" y="324428"/>
                  <a:pt x="1456912" y="0"/>
                  <a:pt x="1456912" y="0"/>
                </a:cubicBezTo>
                <a:lnTo>
                  <a:pt x="1428724" y="0"/>
                </a:lnTo>
                <a:close/>
                <a:moveTo>
                  <a:pt x="1189132" y="500322"/>
                </a:moveTo>
                <a:cubicBezTo>
                  <a:pt x="1274706" y="500322"/>
                  <a:pt x="1344082" y="436948"/>
                  <a:pt x="1344160" y="351400"/>
                </a:cubicBezTo>
                <a:lnTo>
                  <a:pt x="1344160" y="351400"/>
                </a:lnTo>
                <a:lnTo>
                  <a:pt x="1344160" y="23666"/>
                </a:lnTo>
                <a:lnTo>
                  <a:pt x="1315972" y="51854"/>
                </a:lnTo>
                <a:lnTo>
                  <a:pt x="1315972" y="324153"/>
                </a:lnTo>
                <a:cubicBezTo>
                  <a:pt x="1315972" y="378637"/>
                  <a:pt x="1271801" y="415761"/>
                  <a:pt x="1217317" y="415761"/>
                </a:cubicBezTo>
                <a:cubicBezTo>
                  <a:pt x="1162833" y="415761"/>
                  <a:pt x="1118662" y="378637"/>
                  <a:pt x="1118662" y="324153"/>
                </a:cubicBezTo>
                <a:lnTo>
                  <a:pt x="1118662" y="3"/>
                </a:lnTo>
                <a:lnTo>
                  <a:pt x="1090474" y="3"/>
                </a:lnTo>
                <a:lnTo>
                  <a:pt x="1090474" y="324156"/>
                </a:lnTo>
                <a:cubicBezTo>
                  <a:pt x="1090474" y="394209"/>
                  <a:pt x="1147264" y="443951"/>
                  <a:pt x="1217317" y="443951"/>
                </a:cubicBezTo>
                <a:cubicBezTo>
                  <a:pt x="1245962" y="443951"/>
                  <a:pt x="1280732" y="429800"/>
                  <a:pt x="1304349" y="404889"/>
                </a:cubicBezTo>
                <a:lnTo>
                  <a:pt x="1304982" y="405720"/>
                </a:lnTo>
                <a:cubicBezTo>
                  <a:pt x="1282838" y="446784"/>
                  <a:pt x="1241907" y="472139"/>
                  <a:pt x="1189129" y="472139"/>
                </a:cubicBezTo>
                <a:cubicBezTo>
                  <a:pt x="1119507" y="472139"/>
                  <a:pt x="1062992" y="421734"/>
                  <a:pt x="1062303" y="352344"/>
                </a:cubicBezTo>
                <a:lnTo>
                  <a:pt x="1062286" y="352344"/>
                </a:lnTo>
                <a:lnTo>
                  <a:pt x="1062286" y="3"/>
                </a:lnTo>
                <a:lnTo>
                  <a:pt x="1034098" y="3"/>
                </a:lnTo>
                <a:lnTo>
                  <a:pt x="1034098" y="352341"/>
                </a:lnTo>
                <a:lnTo>
                  <a:pt x="1034113" y="352341"/>
                </a:lnTo>
                <a:cubicBezTo>
                  <a:pt x="1034703" y="437411"/>
                  <a:pt x="1103877" y="500322"/>
                  <a:pt x="1189132" y="500322"/>
                </a:cubicBezTo>
                <a:close/>
                <a:moveTo>
                  <a:pt x="562774" y="366435"/>
                </a:moveTo>
                <a:lnTo>
                  <a:pt x="491494" y="535557"/>
                </a:lnTo>
                <a:lnTo>
                  <a:pt x="519684" y="535554"/>
                </a:lnTo>
                <a:lnTo>
                  <a:pt x="519682" y="535557"/>
                </a:lnTo>
                <a:lnTo>
                  <a:pt x="519684" y="535557"/>
                </a:lnTo>
                <a:lnTo>
                  <a:pt x="555322" y="450996"/>
                </a:lnTo>
                <a:lnTo>
                  <a:pt x="794138" y="450996"/>
                </a:lnTo>
                <a:lnTo>
                  <a:pt x="829744" y="535557"/>
                </a:lnTo>
                <a:lnTo>
                  <a:pt x="857932" y="535557"/>
                </a:lnTo>
                <a:lnTo>
                  <a:pt x="810457" y="422808"/>
                </a:lnTo>
                <a:lnTo>
                  <a:pt x="567200" y="422808"/>
                </a:lnTo>
                <a:lnTo>
                  <a:pt x="579078" y="394620"/>
                </a:lnTo>
                <a:lnTo>
                  <a:pt x="826776" y="394620"/>
                </a:lnTo>
                <a:lnTo>
                  <a:pt x="886120" y="535557"/>
                </a:lnTo>
                <a:lnTo>
                  <a:pt x="914308" y="535557"/>
                </a:lnTo>
                <a:lnTo>
                  <a:pt x="843097" y="366435"/>
                </a:lnTo>
                <a:lnTo>
                  <a:pt x="562774" y="366435"/>
                </a:lnTo>
                <a:close/>
                <a:moveTo>
                  <a:pt x="604248" y="0"/>
                </a:moveTo>
                <a:lnTo>
                  <a:pt x="397091" y="491374"/>
                </a:lnTo>
                <a:lnTo>
                  <a:pt x="415032" y="515732"/>
                </a:lnTo>
                <a:lnTo>
                  <a:pt x="632437" y="0"/>
                </a:lnTo>
                <a:lnTo>
                  <a:pt x="604248" y="0"/>
                </a:lnTo>
                <a:close/>
                <a:moveTo>
                  <a:pt x="716998" y="3"/>
                </a:moveTo>
                <a:lnTo>
                  <a:pt x="934130" y="515735"/>
                </a:lnTo>
                <a:lnTo>
                  <a:pt x="952028" y="491377"/>
                </a:lnTo>
                <a:lnTo>
                  <a:pt x="745186" y="3"/>
                </a:lnTo>
                <a:lnTo>
                  <a:pt x="716998" y="3"/>
                </a:lnTo>
                <a:close/>
                <a:moveTo>
                  <a:pt x="546409" y="338247"/>
                </a:moveTo>
                <a:lnTo>
                  <a:pt x="463042" y="535557"/>
                </a:lnTo>
                <a:lnTo>
                  <a:pt x="434854" y="535557"/>
                </a:lnTo>
                <a:lnTo>
                  <a:pt x="646528" y="33467"/>
                </a:lnTo>
                <a:lnTo>
                  <a:pt x="762988" y="310059"/>
                </a:lnTo>
                <a:lnTo>
                  <a:pt x="791176" y="310059"/>
                </a:lnTo>
                <a:lnTo>
                  <a:pt x="660624" y="3"/>
                </a:lnTo>
                <a:lnTo>
                  <a:pt x="688812" y="3"/>
                </a:lnTo>
                <a:lnTo>
                  <a:pt x="831231" y="338247"/>
                </a:lnTo>
                <a:lnTo>
                  <a:pt x="546409" y="338247"/>
                </a:lnTo>
                <a:close/>
                <a:moveTo>
                  <a:pt x="674788" y="167531"/>
                </a:moveTo>
                <a:lnTo>
                  <a:pt x="614721" y="310062"/>
                </a:lnTo>
                <a:lnTo>
                  <a:pt x="734800" y="310062"/>
                </a:lnTo>
                <a:lnTo>
                  <a:pt x="674788" y="167531"/>
                </a:lnTo>
                <a:close/>
                <a:moveTo>
                  <a:pt x="558275" y="310062"/>
                </a:moveTo>
                <a:lnTo>
                  <a:pt x="586535" y="310062"/>
                </a:lnTo>
                <a:lnTo>
                  <a:pt x="660703" y="134072"/>
                </a:lnTo>
                <a:lnTo>
                  <a:pt x="646588" y="100553"/>
                </a:lnTo>
                <a:lnTo>
                  <a:pt x="558275" y="310062"/>
                </a:lnTo>
                <a:close/>
              </a:path>
            </a:pathLst>
          </a:custGeom>
          <a:solidFill>
            <a:schemeClr val="tx1"/>
          </a:solidFill>
          <a:ln w="2892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286" name="Rechteck 285">
            <a:extLst>
              <a:ext uri="{FF2B5EF4-FFF2-40B4-BE49-F238E27FC236}">
                <a16:creationId xmlns:a16="http://schemas.microsoft.com/office/drawing/2014/main" id="{E92F8CF9-198A-4C8B-9010-0DB32F87536F}"/>
              </a:ext>
            </a:extLst>
          </p:cNvPr>
          <p:cNvSpPr/>
          <p:nvPr userDrawn="1"/>
        </p:nvSpPr>
        <p:spPr>
          <a:xfrm>
            <a:off x="518400" y="1413835"/>
            <a:ext cx="11676062" cy="72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88" name="Titel 1">
            <a:extLst>
              <a:ext uri="{FF2B5EF4-FFF2-40B4-BE49-F238E27FC236}">
                <a16:creationId xmlns:a16="http://schemas.microsoft.com/office/drawing/2014/main" id="{CD3FEBB4-C881-4BC8-8203-E29FFD0FBDF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20163" y="2913731"/>
            <a:ext cx="11153677" cy="1030539"/>
          </a:xfrm>
        </p:spPr>
        <p:txBody>
          <a:bodyPr vert="horz" wrap="square" tIns="0" rIns="0" anchor="ctr" anchorCtr="0">
            <a:noAutofit/>
          </a:bodyPr>
          <a:lstStyle>
            <a:lvl1pPr algn="l">
              <a:lnSpc>
                <a:spcPct val="110000"/>
              </a:lnSpc>
              <a:defRPr sz="540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&lt;Thema&gt;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8737ED76-7187-4427-953B-A0E34AD10F7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20163" y="5005511"/>
            <a:ext cx="11153677" cy="437236"/>
          </a:xfrm>
        </p:spPr>
        <p:txBody>
          <a:bodyPr wrap="square" rIns="0">
            <a:spAutoFit/>
          </a:bodyPr>
          <a:lstStyle>
            <a:lvl1pPr>
              <a:defRPr sz="2800"/>
            </a:lvl1pPr>
          </a:lstStyle>
          <a:p>
            <a:pPr lvl="0"/>
            <a:r>
              <a:rPr lang="de-DE" noProof="0" dirty="0"/>
              <a:t>&lt;Titel der Veranstaltung&gt; | &lt;Semester&gt;</a:t>
            </a:r>
          </a:p>
        </p:txBody>
      </p:sp>
      <p:pic>
        <p:nvPicPr>
          <p:cNvPr id="107" name="Grafik 106">
            <a:extLst>
              <a:ext uri="{FF2B5EF4-FFF2-40B4-BE49-F238E27FC236}">
                <a16:creationId xmlns:a16="http://schemas.microsoft.com/office/drawing/2014/main" id="{0C123BA0-CAA7-4613-B464-F66C26AE6EC7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509578" y="293687"/>
            <a:ext cx="2604169" cy="556887"/>
          </a:xfrm>
          <a:prstGeom prst="rect">
            <a:avLst/>
          </a:prstGeom>
        </p:spPr>
      </p:pic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FAD118C3-17CF-4F8A-AE25-53D239BC777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20163" y="6200775"/>
            <a:ext cx="11153677" cy="431800"/>
          </a:xfrm>
        </p:spPr>
        <p:txBody>
          <a:bodyPr rIns="0" anchor="ctr"/>
          <a:lstStyle>
            <a:lvl1pPr>
              <a:defRPr/>
            </a:lvl1pPr>
          </a:lstStyle>
          <a:p>
            <a:pPr lvl="0"/>
            <a:r>
              <a:rPr lang="de-DE" dirty="0"/>
              <a:t>Lehrstuhl für Digital Industrial Service Systems | &lt;Dozent&gt;</a:t>
            </a:r>
          </a:p>
        </p:txBody>
      </p:sp>
    </p:spTree>
    <p:extLst>
      <p:ext uri="{BB962C8B-B14F-4D97-AF65-F5344CB8AC3E}">
        <p14:creationId xmlns:p14="http://schemas.microsoft.com/office/powerpoint/2010/main" val="375926188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5E0522E-4B59-4195-AD23-1DB4381AB6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DD0C8E-4653-4FE0-9AB6-B157E51E80B8}" type="datetime4">
              <a:rPr lang="de-DE" smtClean="0"/>
              <a:t>19. Dezember 2022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0F6FD0B-B0A5-4052-BAB6-95BD027E8C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15937" y="6634666"/>
            <a:ext cx="9574509" cy="123111"/>
          </a:xfrm>
        </p:spPr>
        <p:txBody>
          <a:bodyPr/>
          <a:lstStyle/>
          <a:p>
            <a:r>
              <a:rPr lang="de-DE"/>
              <a:t>… | Lehrstuhl für Digital Industrial Service Systems | &lt;Name des Dozenten&gt;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0385CA6-0215-4C6D-9658-F37EA26CE8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8" name="Titelplatzhalter 1">
            <a:extLst>
              <a:ext uri="{FF2B5EF4-FFF2-40B4-BE49-F238E27FC236}">
                <a16:creationId xmlns:a16="http://schemas.microsoft.com/office/drawing/2014/main" id="{8D91CC63-EC57-4924-A724-1CDFF2666E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8318" y="301183"/>
            <a:ext cx="9574509" cy="666000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rmAutofit/>
          </a:bodyPr>
          <a:lstStyle/>
          <a:p>
            <a:r>
              <a:rPr lang="de-DE" noProof="0" dirty="0"/>
              <a:t>[Action-Title]: Kernaussage des Bilds ausdrücken, </a:t>
            </a:r>
            <a:br>
              <a:rPr lang="de-DE" noProof="0" dirty="0"/>
            </a:br>
            <a:r>
              <a:rPr lang="de-DE" noProof="0" dirty="0"/>
              <a:t>maximal zwei Zeilen, „sprechende Titel“</a:t>
            </a:r>
            <a:endParaRPr lang="de-DE" dirty="0"/>
          </a:p>
        </p:txBody>
      </p:sp>
      <p:sp>
        <p:nvSpPr>
          <p:cNvPr id="19" name="Textplatzhalter 6">
            <a:extLst>
              <a:ext uri="{FF2B5EF4-FFF2-40B4-BE49-F238E27FC236}">
                <a16:creationId xmlns:a16="http://schemas.microsoft.com/office/drawing/2014/main" id="{E76EDA7A-C3DC-4A17-8264-EF17021BD3D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8318" y="987403"/>
            <a:ext cx="9574510" cy="281103"/>
          </a:xfrm>
        </p:spPr>
        <p:txBody>
          <a:bodyPr anchor="ctr">
            <a:normAutofit/>
          </a:bodyPr>
          <a:lstStyle>
            <a:lvl1pPr>
              <a:defRPr sz="1800">
                <a:solidFill>
                  <a:srgbClr val="041E4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3"/>
              </a:buClr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noProof="0" dirty="0"/>
              <a:t>[</a:t>
            </a:r>
            <a:r>
              <a:rPr lang="de-DE" noProof="0" dirty="0" err="1"/>
              <a:t>Subtitle</a:t>
            </a:r>
            <a:r>
              <a:rPr lang="de-DE" noProof="0" dirty="0"/>
              <a:t>]: Zusammenfassung in Stichwörtern, keine Sätze</a:t>
            </a:r>
          </a:p>
        </p:txBody>
      </p:sp>
      <p:sp>
        <p:nvSpPr>
          <p:cNvPr id="12" name="Textplatzhalter 6">
            <a:extLst>
              <a:ext uri="{FF2B5EF4-FFF2-40B4-BE49-F238E27FC236}">
                <a16:creationId xmlns:a16="http://schemas.microsoft.com/office/drawing/2014/main" id="{E927CAA4-B123-4D0D-A4C7-75CC8E8BA0F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48060" y="2354711"/>
            <a:ext cx="5039989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 dirty="0"/>
              <a:t>Agendapunkt / Kapitelthema</a:t>
            </a:r>
          </a:p>
        </p:txBody>
      </p:sp>
      <p:sp>
        <p:nvSpPr>
          <p:cNvPr id="13" name="Textplatzhalter 6">
            <a:extLst>
              <a:ext uri="{FF2B5EF4-FFF2-40B4-BE49-F238E27FC236}">
                <a16:creationId xmlns:a16="http://schemas.microsoft.com/office/drawing/2014/main" id="{4812415B-8283-4EFD-AB2A-7770E2A5777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18318" y="2354711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02 </a:t>
            </a:r>
          </a:p>
        </p:txBody>
      </p:sp>
      <p:sp>
        <p:nvSpPr>
          <p:cNvPr id="14" name="Textplatzhalter 6">
            <a:extLst>
              <a:ext uri="{FF2B5EF4-FFF2-40B4-BE49-F238E27FC236}">
                <a16:creationId xmlns:a16="http://schemas.microsoft.com/office/drawing/2014/main" id="{90F2EEED-6972-477D-B247-14E81B69528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48060" y="4525376"/>
            <a:ext cx="5039989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 dirty="0"/>
              <a:t>Agendapunkt / Kapitelthema</a:t>
            </a:r>
          </a:p>
        </p:txBody>
      </p:sp>
      <p:sp>
        <p:nvSpPr>
          <p:cNvPr id="15" name="Textplatzhalter 6">
            <a:extLst>
              <a:ext uri="{FF2B5EF4-FFF2-40B4-BE49-F238E27FC236}">
                <a16:creationId xmlns:a16="http://schemas.microsoft.com/office/drawing/2014/main" id="{11C29535-8DD8-4E03-9317-53BAAC0DB16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18318" y="4525376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05 </a:t>
            </a:r>
          </a:p>
        </p:txBody>
      </p:sp>
      <p:sp>
        <p:nvSpPr>
          <p:cNvPr id="16" name="Textplatzhalter 6">
            <a:extLst>
              <a:ext uri="{FF2B5EF4-FFF2-40B4-BE49-F238E27FC236}">
                <a16:creationId xmlns:a16="http://schemas.microsoft.com/office/drawing/2014/main" id="{181B777B-D971-486E-B692-31A6965DD6A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48060" y="3078266"/>
            <a:ext cx="5039989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 dirty="0"/>
              <a:t>Agendapunkt / Kapitelthema</a:t>
            </a:r>
          </a:p>
        </p:txBody>
      </p:sp>
      <p:sp>
        <p:nvSpPr>
          <p:cNvPr id="17" name="Textplatzhalter 6">
            <a:extLst>
              <a:ext uri="{FF2B5EF4-FFF2-40B4-BE49-F238E27FC236}">
                <a16:creationId xmlns:a16="http://schemas.microsoft.com/office/drawing/2014/main" id="{3194DD25-80E9-4423-9510-9C6DBC939E1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18318" y="3078266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03 </a:t>
            </a:r>
          </a:p>
        </p:txBody>
      </p:sp>
      <p:sp>
        <p:nvSpPr>
          <p:cNvPr id="20" name="Textplatzhalter 6">
            <a:extLst>
              <a:ext uri="{FF2B5EF4-FFF2-40B4-BE49-F238E27FC236}">
                <a16:creationId xmlns:a16="http://schemas.microsoft.com/office/drawing/2014/main" id="{D06AE031-420B-4257-9BFB-096C0B2981AC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48060" y="3801821"/>
            <a:ext cx="5039989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 dirty="0"/>
              <a:t>Agendapunkt / Kapitelthema</a:t>
            </a:r>
          </a:p>
        </p:txBody>
      </p:sp>
      <p:sp>
        <p:nvSpPr>
          <p:cNvPr id="21" name="Textplatzhalter 6">
            <a:extLst>
              <a:ext uri="{FF2B5EF4-FFF2-40B4-BE49-F238E27FC236}">
                <a16:creationId xmlns:a16="http://schemas.microsoft.com/office/drawing/2014/main" id="{13FCC4FE-3843-4A9C-8A6B-4E4497BFE4B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518318" y="3801821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04 </a:t>
            </a:r>
          </a:p>
        </p:txBody>
      </p:sp>
      <p:sp>
        <p:nvSpPr>
          <p:cNvPr id="22" name="Textplatzhalter 6">
            <a:extLst>
              <a:ext uri="{FF2B5EF4-FFF2-40B4-BE49-F238E27FC236}">
                <a16:creationId xmlns:a16="http://schemas.microsoft.com/office/drawing/2014/main" id="{C39F8872-B982-4D68-A3EA-7484AD8972B8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48060" y="5248930"/>
            <a:ext cx="5039989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 dirty="0"/>
              <a:t>Agendapunkt / Kapitelthema</a:t>
            </a:r>
          </a:p>
        </p:txBody>
      </p:sp>
      <p:sp>
        <p:nvSpPr>
          <p:cNvPr id="23" name="Textplatzhalter 6">
            <a:extLst>
              <a:ext uri="{FF2B5EF4-FFF2-40B4-BE49-F238E27FC236}">
                <a16:creationId xmlns:a16="http://schemas.microsoft.com/office/drawing/2014/main" id="{AD59621C-4190-491F-97CE-61708D343DFE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518318" y="5248930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06 </a:t>
            </a:r>
          </a:p>
        </p:txBody>
      </p:sp>
      <p:sp>
        <p:nvSpPr>
          <p:cNvPr id="24" name="Textplatzhalter 6">
            <a:extLst>
              <a:ext uri="{FF2B5EF4-FFF2-40B4-BE49-F238E27FC236}">
                <a16:creationId xmlns:a16="http://schemas.microsoft.com/office/drawing/2014/main" id="{8DEAC195-0656-4779-BC2E-FA1D7D59C913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636190" y="1632184"/>
            <a:ext cx="5039873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/>
              <a:t>Agendapunkt / Kapitelthema</a:t>
            </a:r>
            <a:endParaRPr lang="de-DE" dirty="0"/>
          </a:p>
        </p:txBody>
      </p:sp>
      <p:sp>
        <p:nvSpPr>
          <p:cNvPr id="25" name="Textplatzhalter 6">
            <a:extLst>
              <a:ext uri="{FF2B5EF4-FFF2-40B4-BE49-F238E27FC236}">
                <a16:creationId xmlns:a16="http://schemas.microsoft.com/office/drawing/2014/main" id="{F3EFC9BF-8EA1-44E6-B6BB-76B17C8A65ED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206332" y="1632184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07 </a:t>
            </a:r>
          </a:p>
        </p:txBody>
      </p:sp>
      <p:sp>
        <p:nvSpPr>
          <p:cNvPr id="26" name="Textplatzhalter 6">
            <a:extLst>
              <a:ext uri="{FF2B5EF4-FFF2-40B4-BE49-F238E27FC236}">
                <a16:creationId xmlns:a16="http://schemas.microsoft.com/office/drawing/2014/main" id="{5E74FCC8-4B63-4399-899A-BA278285B26C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636190" y="2355533"/>
            <a:ext cx="5039873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/>
              <a:t>Agendapunkt / Kapitelthema</a:t>
            </a:r>
            <a:endParaRPr lang="de-DE" dirty="0"/>
          </a:p>
        </p:txBody>
      </p:sp>
      <p:sp>
        <p:nvSpPr>
          <p:cNvPr id="27" name="Textplatzhalter 6">
            <a:extLst>
              <a:ext uri="{FF2B5EF4-FFF2-40B4-BE49-F238E27FC236}">
                <a16:creationId xmlns:a16="http://schemas.microsoft.com/office/drawing/2014/main" id="{0047C043-43BE-4074-B994-0187FDCF0D80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206332" y="2355533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08 </a:t>
            </a:r>
          </a:p>
        </p:txBody>
      </p:sp>
      <p:sp>
        <p:nvSpPr>
          <p:cNvPr id="28" name="Textplatzhalter 6">
            <a:extLst>
              <a:ext uri="{FF2B5EF4-FFF2-40B4-BE49-F238E27FC236}">
                <a16:creationId xmlns:a16="http://schemas.microsoft.com/office/drawing/2014/main" id="{BAA0F45E-08EA-4F13-B73A-A36B1AD42ED7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636190" y="4525580"/>
            <a:ext cx="5039873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/>
              <a:t>Agendapunkt / Kapitelthema</a:t>
            </a:r>
            <a:endParaRPr lang="de-DE" dirty="0"/>
          </a:p>
        </p:txBody>
      </p:sp>
      <p:sp>
        <p:nvSpPr>
          <p:cNvPr id="29" name="Textplatzhalter 6">
            <a:extLst>
              <a:ext uri="{FF2B5EF4-FFF2-40B4-BE49-F238E27FC236}">
                <a16:creationId xmlns:a16="http://schemas.microsoft.com/office/drawing/2014/main" id="{881DADAD-AAC3-44AB-A6CB-49422AE2DF70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206332" y="4525580"/>
            <a:ext cx="30784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11 </a:t>
            </a:r>
          </a:p>
        </p:txBody>
      </p:sp>
      <p:sp>
        <p:nvSpPr>
          <p:cNvPr id="30" name="Textplatzhalter 6">
            <a:extLst>
              <a:ext uri="{FF2B5EF4-FFF2-40B4-BE49-F238E27FC236}">
                <a16:creationId xmlns:a16="http://schemas.microsoft.com/office/drawing/2014/main" id="{6D068CA3-B949-4604-ACDA-EA3A51006C41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6636190" y="3078882"/>
            <a:ext cx="5039873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/>
              <a:t>Agendapunkt / Kapitelthema</a:t>
            </a:r>
            <a:endParaRPr lang="de-DE" dirty="0"/>
          </a:p>
        </p:txBody>
      </p:sp>
      <p:sp>
        <p:nvSpPr>
          <p:cNvPr id="31" name="Textplatzhalter 6">
            <a:extLst>
              <a:ext uri="{FF2B5EF4-FFF2-40B4-BE49-F238E27FC236}">
                <a16:creationId xmlns:a16="http://schemas.microsoft.com/office/drawing/2014/main" id="{E47A9DDD-B457-4B59-9166-8068CA4E9951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206332" y="3078882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09 </a:t>
            </a:r>
          </a:p>
        </p:txBody>
      </p:sp>
      <p:sp>
        <p:nvSpPr>
          <p:cNvPr id="32" name="Textplatzhalter 6">
            <a:extLst>
              <a:ext uri="{FF2B5EF4-FFF2-40B4-BE49-F238E27FC236}">
                <a16:creationId xmlns:a16="http://schemas.microsoft.com/office/drawing/2014/main" id="{AB6475A4-B975-4203-9A27-00B415A5A2ED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6636190" y="3802231"/>
            <a:ext cx="5039873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/>
              <a:t>Agendapunkt / Kapitelthema</a:t>
            </a:r>
            <a:endParaRPr lang="de-DE" dirty="0"/>
          </a:p>
        </p:txBody>
      </p:sp>
      <p:sp>
        <p:nvSpPr>
          <p:cNvPr id="33" name="Textplatzhalter 6">
            <a:extLst>
              <a:ext uri="{FF2B5EF4-FFF2-40B4-BE49-F238E27FC236}">
                <a16:creationId xmlns:a16="http://schemas.microsoft.com/office/drawing/2014/main" id="{954B7FE0-BF09-4D28-A402-9A893D80A41F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6206332" y="3802231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10 </a:t>
            </a:r>
          </a:p>
        </p:txBody>
      </p:sp>
      <p:sp>
        <p:nvSpPr>
          <p:cNvPr id="34" name="Textplatzhalter 6">
            <a:extLst>
              <a:ext uri="{FF2B5EF4-FFF2-40B4-BE49-F238E27FC236}">
                <a16:creationId xmlns:a16="http://schemas.microsoft.com/office/drawing/2014/main" id="{91DA9E5E-8D5C-4EDF-89F3-04C0F27A7BD6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6636190" y="5248930"/>
            <a:ext cx="5039873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/>
              <a:t>Agendapunkt / Kapitelthema</a:t>
            </a:r>
            <a:endParaRPr lang="de-DE" dirty="0"/>
          </a:p>
        </p:txBody>
      </p:sp>
      <p:sp>
        <p:nvSpPr>
          <p:cNvPr id="35" name="Textplatzhalter 6">
            <a:extLst>
              <a:ext uri="{FF2B5EF4-FFF2-40B4-BE49-F238E27FC236}">
                <a16:creationId xmlns:a16="http://schemas.microsoft.com/office/drawing/2014/main" id="{482E22B8-3DB4-4A9D-AB29-48725670FC04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6206332" y="5248930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12 </a:t>
            </a:r>
          </a:p>
        </p:txBody>
      </p:sp>
      <p:sp>
        <p:nvSpPr>
          <p:cNvPr id="36" name="Textplatzhalter 6">
            <a:extLst>
              <a:ext uri="{FF2B5EF4-FFF2-40B4-BE49-F238E27FC236}">
                <a16:creationId xmlns:a16="http://schemas.microsoft.com/office/drawing/2014/main" id="{662E89B8-59A2-4164-AFCD-F7BF8F993AFF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948060" y="1631156"/>
            <a:ext cx="5039989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 dirty="0"/>
              <a:t>Agendapunkt / Kapitelthema</a:t>
            </a:r>
          </a:p>
        </p:txBody>
      </p:sp>
      <p:sp>
        <p:nvSpPr>
          <p:cNvPr id="37" name="Textplatzhalter 6">
            <a:extLst>
              <a:ext uri="{FF2B5EF4-FFF2-40B4-BE49-F238E27FC236}">
                <a16:creationId xmlns:a16="http://schemas.microsoft.com/office/drawing/2014/main" id="{8374067F-EE70-4B10-8D73-4A0A4001E84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18318" y="1631156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01 </a:t>
            </a:r>
          </a:p>
        </p:txBody>
      </p:sp>
    </p:spTree>
    <p:extLst>
      <p:ext uri="{BB962C8B-B14F-4D97-AF65-F5344CB8AC3E}">
        <p14:creationId xmlns:p14="http://schemas.microsoft.com/office/powerpoint/2010/main" val="419323325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|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5E0522E-4B59-4195-AD23-1DB4381AB6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1BB78D-0F7C-433E-93C8-011F3F257B2F}" type="datetime4">
              <a:rPr lang="de-DE" smtClean="0"/>
              <a:t>19. Dezember 2022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0F6FD0B-B0A5-4052-BAB6-95BD027E8C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15937" y="6634666"/>
            <a:ext cx="9574509" cy="123111"/>
          </a:xfrm>
        </p:spPr>
        <p:txBody>
          <a:bodyPr/>
          <a:lstStyle/>
          <a:p>
            <a:r>
              <a:rPr lang="de-DE"/>
              <a:t>… | Lehrstuhl für Digital Industrial Service Systems | &lt;Name des Dozenten&gt;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0385CA6-0215-4C6D-9658-F37EA26CE8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8" name="Titelplatzhalter 1">
            <a:extLst>
              <a:ext uri="{FF2B5EF4-FFF2-40B4-BE49-F238E27FC236}">
                <a16:creationId xmlns:a16="http://schemas.microsoft.com/office/drawing/2014/main" id="{8D91CC63-EC57-4924-A724-1CDFF2666E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8318" y="301183"/>
            <a:ext cx="9574509" cy="666000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rmAutofit/>
          </a:bodyPr>
          <a:lstStyle/>
          <a:p>
            <a:r>
              <a:rPr lang="de-DE" noProof="0" dirty="0"/>
              <a:t>[Action-Title]: Kernaussage des Bilds ausdrücken, </a:t>
            </a:r>
            <a:br>
              <a:rPr lang="de-DE" noProof="0" dirty="0"/>
            </a:br>
            <a:r>
              <a:rPr lang="de-DE" noProof="0" dirty="0"/>
              <a:t>maximal zwei Zeilen, „sprechende Titel“</a:t>
            </a:r>
            <a:endParaRPr lang="de-DE" dirty="0"/>
          </a:p>
        </p:txBody>
      </p:sp>
      <p:sp>
        <p:nvSpPr>
          <p:cNvPr id="19" name="Textplatzhalter 6">
            <a:extLst>
              <a:ext uri="{FF2B5EF4-FFF2-40B4-BE49-F238E27FC236}">
                <a16:creationId xmlns:a16="http://schemas.microsoft.com/office/drawing/2014/main" id="{E76EDA7A-C3DC-4A17-8264-EF17021BD3D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8318" y="987403"/>
            <a:ext cx="9574510" cy="281103"/>
          </a:xfrm>
        </p:spPr>
        <p:txBody>
          <a:bodyPr anchor="ctr">
            <a:normAutofit/>
          </a:bodyPr>
          <a:lstStyle>
            <a:lvl1pPr>
              <a:defRPr sz="1800">
                <a:solidFill>
                  <a:srgbClr val="041E4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3"/>
              </a:buClr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noProof="0" dirty="0"/>
              <a:t>[</a:t>
            </a:r>
            <a:r>
              <a:rPr lang="de-DE" noProof="0" dirty="0" err="1"/>
              <a:t>Subtitle</a:t>
            </a:r>
            <a:r>
              <a:rPr lang="de-DE" noProof="0" dirty="0"/>
              <a:t>]: Zusammenfassung in Stichwörtern, keine Sätze</a:t>
            </a:r>
          </a:p>
        </p:txBody>
      </p:sp>
      <p:sp>
        <p:nvSpPr>
          <p:cNvPr id="12" name="Textplatzhalter 6">
            <a:extLst>
              <a:ext uri="{FF2B5EF4-FFF2-40B4-BE49-F238E27FC236}">
                <a16:creationId xmlns:a16="http://schemas.microsoft.com/office/drawing/2014/main" id="{E927CAA4-B123-4D0D-A4C7-75CC8E8BA0F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48060" y="2354711"/>
            <a:ext cx="5039989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 dirty="0"/>
              <a:t>Agendapunkt / Kapitelthema</a:t>
            </a:r>
          </a:p>
        </p:txBody>
      </p:sp>
      <p:sp>
        <p:nvSpPr>
          <p:cNvPr id="13" name="Textplatzhalter 6">
            <a:extLst>
              <a:ext uri="{FF2B5EF4-FFF2-40B4-BE49-F238E27FC236}">
                <a16:creationId xmlns:a16="http://schemas.microsoft.com/office/drawing/2014/main" id="{4812415B-8283-4EFD-AB2A-7770E2A5777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18318" y="2354711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02 </a:t>
            </a:r>
          </a:p>
        </p:txBody>
      </p:sp>
      <p:sp>
        <p:nvSpPr>
          <p:cNvPr id="14" name="Textplatzhalter 6">
            <a:extLst>
              <a:ext uri="{FF2B5EF4-FFF2-40B4-BE49-F238E27FC236}">
                <a16:creationId xmlns:a16="http://schemas.microsoft.com/office/drawing/2014/main" id="{90F2EEED-6972-477D-B247-14E81B69528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48060" y="4525376"/>
            <a:ext cx="5039989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 dirty="0"/>
              <a:t>Agendapunkt / Kapitelthema</a:t>
            </a:r>
          </a:p>
        </p:txBody>
      </p:sp>
      <p:sp>
        <p:nvSpPr>
          <p:cNvPr id="15" name="Textplatzhalter 6">
            <a:extLst>
              <a:ext uri="{FF2B5EF4-FFF2-40B4-BE49-F238E27FC236}">
                <a16:creationId xmlns:a16="http://schemas.microsoft.com/office/drawing/2014/main" id="{11C29535-8DD8-4E03-9317-53BAAC0DB16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18318" y="4525376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05 </a:t>
            </a:r>
          </a:p>
        </p:txBody>
      </p:sp>
      <p:sp>
        <p:nvSpPr>
          <p:cNvPr id="16" name="Textplatzhalter 6">
            <a:extLst>
              <a:ext uri="{FF2B5EF4-FFF2-40B4-BE49-F238E27FC236}">
                <a16:creationId xmlns:a16="http://schemas.microsoft.com/office/drawing/2014/main" id="{181B777B-D971-486E-B692-31A6965DD6A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48060" y="3078266"/>
            <a:ext cx="5039989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 dirty="0"/>
              <a:t>Agendapunkt / Kapitelthema</a:t>
            </a:r>
          </a:p>
        </p:txBody>
      </p:sp>
      <p:sp>
        <p:nvSpPr>
          <p:cNvPr id="17" name="Textplatzhalter 6">
            <a:extLst>
              <a:ext uri="{FF2B5EF4-FFF2-40B4-BE49-F238E27FC236}">
                <a16:creationId xmlns:a16="http://schemas.microsoft.com/office/drawing/2014/main" id="{3194DD25-80E9-4423-9510-9C6DBC939E1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18318" y="3078266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03 </a:t>
            </a:r>
          </a:p>
        </p:txBody>
      </p:sp>
      <p:sp>
        <p:nvSpPr>
          <p:cNvPr id="20" name="Textplatzhalter 6">
            <a:extLst>
              <a:ext uri="{FF2B5EF4-FFF2-40B4-BE49-F238E27FC236}">
                <a16:creationId xmlns:a16="http://schemas.microsoft.com/office/drawing/2014/main" id="{D06AE031-420B-4257-9BFB-096C0B2981AC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48060" y="3801821"/>
            <a:ext cx="5039989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 dirty="0"/>
              <a:t>Agendapunkt / Kapitelthema</a:t>
            </a:r>
          </a:p>
        </p:txBody>
      </p:sp>
      <p:sp>
        <p:nvSpPr>
          <p:cNvPr id="21" name="Textplatzhalter 6">
            <a:extLst>
              <a:ext uri="{FF2B5EF4-FFF2-40B4-BE49-F238E27FC236}">
                <a16:creationId xmlns:a16="http://schemas.microsoft.com/office/drawing/2014/main" id="{13FCC4FE-3843-4A9C-8A6B-4E4497BFE4B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518318" y="3801821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04 </a:t>
            </a:r>
          </a:p>
        </p:txBody>
      </p:sp>
      <p:sp>
        <p:nvSpPr>
          <p:cNvPr id="22" name="Textplatzhalter 6">
            <a:extLst>
              <a:ext uri="{FF2B5EF4-FFF2-40B4-BE49-F238E27FC236}">
                <a16:creationId xmlns:a16="http://schemas.microsoft.com/office/drawing/2014/main" id="{C39F8872-B982-4D68-A3EA-7484AD8972B8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48060" y="5248930"/>
            <a:ext cx="5039989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 dirty="0"/>
              <a:t>Agendapunkt / Kapitelthema</a:t>
            </a:r>
          </a:p>
        </p:txBody>
      </p:sp>
      <p:sp>
        <p:nvSpPr>
          <p:cNvPr id="23" name="Textplatzhalter 6">
            <a:extLst>
              <a:ext uri="{FF2B5EF4-FFF2-40B4-BE49-F238E27FC236}">
                <a16:creationId xmlns:a16="http://schemas.microsoft.com/office/drawing/2014/main" id="{AD59621C-4190-491F-97CE-61708D343DFE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518318" y="5248930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06 </a:t>
            </a:r>
          </a:p>
        </p:txBody>
      </p:sp>
      <p:sp>
        <p:nvSpPr>
          <p:cNvPr id="36" name="Textplatzhalter 6">
            <a:extLst>
              <a:ext uri="{FF2B5EF4-FFF2-40B4-BE49-F238E27FC236}">
                <a16:creationId xmlns:a16="http://schemas.microsoft.com/office/drawing/2014/main" id="{662E89B8-59A2-4164-AFCD-F7BF8F993AFF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948060" y="1631156"/>
            <a:ext cx="5039989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 dirty="0"/>
              <a:t>Agendapunkt / Kapitelthema</a:t>
            </a:r>
          </a:p>
        </p:txBody>
      </p:sp>
      <p:sp>
        <p:nvSpPr>
          <p:cNvPr id="37" name="Textplatzhalter 6">
            <a:extLst>
              <a:ext uri="{FF2B5EF4-FFF2-40B4-BE49-F238E27FC236}">
                <a16:creationId xmlns:a16="http://schemas.microsoft.com/office/drawing/2014/main" id="{8374067F-EE70-4B10-8D73-4A0A4001E84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18318" y="1631156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01 </a:t>
            </a:r>
          </a:p>
        </p:txBody>
      </p:sp>
      <p:sp>
        <p:nvSpPr>
          <p:cNvPr id="38" name="Bildplatzhalter 8">
            <a:extLst>
              <a:ext uri="{FF2B5EF4-FFF2-40B4-BE49-F238E27FC236}">
                <a16:creationId xmlns:a16="http://schemas.microsoft.com/office/drawing/2014/main" id="{3BDA1354-84E9-4109-84D5-62AFF93F32F9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6206329" y="1631156"/>
            <a:ext cx="5469732" cy="3951164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de-DE"/>
              <a:t> </a:t>
            </a:r>
          </a:p>
        </p:txBody>
      </p:sp>
      <p:sp>
        <p:nvSpPr>
          <p:cNvPr id="39" name="Textplatzhalter 10">
            <a:extLst>
              <a:ext uri="{FF2B5EF4-FFF2-40B4-BE49-F238E27FC236}">
                <a16:creationId xmlns:a16="http://schemas.microsoft.com/office/drawing/2014/main" id="{A0D91CAF-F1F3-4347-829C-D634E9DA0C5F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206329" y="5690271"/>
            <a:ext cx="5469732" cy="511084"/>
          </a:xfrm>
        </p:spPr>
        <p:txBody>
          <a:bodyPr wrap="square">
            <a:no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1400"/>
            </a:lvl1pPr>
          </a:lstStyle>
          <a:p>
            <a:pPr lvl="0"/>
            <a:r>
              <a:rPr lang="de-DE" dirty="0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303330399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eltrenner">
    <p:bg bwMode="invGray"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7E4048C-0B54-437F-B99C-D1780047466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8318" y="2875002"/>
            <a:ext cx="11157743" cy="1107996"/>
          </a:xfrm>
        </p:spPr>
        <p:txBody>
          <a:bodyPr anchor="ctr" anchorCtr="0"/>
          <a:lstStyle>
            <a:lvl1pPr>
              <a:defRPr sz="400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Kapiteltrenner</a:t>
            </a:r>
            <a:br>
              <a:rPr lang="de-DE" dirty="0"/>
            </a:br>
            <a:r>
              <a:rPr lang="de-DE" dirty="0"/>
              <a:t>Mehrzeilig möglich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5E0522E-4B59-4195-AD23-1DB4381AB6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C89B0C6-E378-43D9-87B6-F295F13B6DA2}" type="datetime4">
              <a:rPr lang="de-DE" smtClean="0"/>
              <a:t>19. Dezember 2022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0F6FD0B-B0A5-4052-BAB6-95BD027E8C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… | Lehrstuhl für Digital Industrial Service Systems | &lt;Name des Dozenten&gt;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0385CA6-0215-4C6D-9658-F37EA26CE8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949F9DF-37BD-4CD6-BF49-65BA579E1D7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57" name="Rechteck 56">
            <a:extLst>
              <a:ext uri="{FF2B5EF4-FFF2-40B4-BE49-F238E27FC236}">
                <a16:creationId xmlns:a16="http://schemas.microsoft.com/office/drawing/2014/main" id="{87F00BE4-512D-4F35-B132-4E5C5CF1413D}"/>
              </a:ext>
            </a:extLst>
          </p:cNvPr>
          <p:cNvSpPr/>
          <p:nvPr userDrawn="1"/>
        </p:nvSpPr>
        <p:spPr>
          <a:xfrm>
            <a:off x="517200" y="6538526"/>
            <a:ext cx="11674800" cy="108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60" name="Freihandform: Form 59">
            <a:extLst>
              <a:ext uri="{FF2B5EF4-FFF2-40B4-BE49-F238E27FC236}">
                <a16:creationId xmlns:a16="http://schemas.microsoft.com/office/drawing/2014/main" id="{40F781E3-735A-4333-AF8D-7842FE86295B}"/>
              </a:ext>
            </a:extLst>
          </p:cNvPr>
          <p:cNvSpPr/>
          <p:nvPr userDrawn="1"/>
        </p:nvSpPr>
        <p:spPr>
          <a:xfrm>
            <a:off x="10056938" y="300703"/>
            <a:ext cx="1619125" cy="618155"/>
          </a:xfrm>
          <a:custGeom>
            <a:avLst/>
            <a:gdLst>
              <a:gd name="connsiteX0" fmla="*/ 0 w 1456912"/>
              <a:gd name="connsiteY0" fmla="*/ 51854 h 556225"/>
              <a:gd name="connsiteX1" fmla="*/ 28188 w 1456912"/>
              <a:gd name="connsiteY1" fmla="*/ 23666 h 556225"/>
              <a:gd name="connsiteX2" fmla="*/ 28188 w 1456912"/>
              <a:gd name="connsiteY2" fmla="*/ 535557 h 556225"/>
              <a:gd name="connsiteX3" fmla="*/ 0 w 1456912"/>
              <a:gd name="connsiteY3" fmla="*/ 535557 h 556225"/>
              <a:gd name="connsiteX4" fmla="*/ 0 w 1456912"/>
              <a:gd name="connsiteY4" fmla="*/ 51854 h 556225"/>
              <a:gd name="connsiteX5" fmla="*/ 84564 w 1456912"/>
              <a:gd name="connsiteY5" fmla="*/ 28188 h 556225"/>
              <a:gd name="connsiteX6" fmla="*/ 422811 w 1456912"/>
              <a:gd name="connsiteY6" fmla="*/ 28188 h 556225"/>
              <a:gd name="connsiteX7" fmla="*/ 422811 w 1456912"/>
              <a:gd name="connsiteY7" fmla="*/ 0 h 556225"/>
              <a:gd name="connsiteX8" fmla="*/ 56376 w 1456912"/>
              <a:gd name="connsiteY8" fmla="*/ 0 h 556225"/>
              <a:gd name="connsiteX9" fmla="*/ 56376 w 1456912"/>
              <a:gd name="connsiteY9" fmla="*/ 338244 h 556225"/>
              <a:gd name="connsiteX10" fmla="*/ 367711 w 1456912"/>
              <a:gd name="connsiteY10" fmla="*/ 338244 h 556225"/>
              <a:gd name="connsiteX11" fmla="*/ 367711 w 1456912"/>
              <a:gd name="connsiteY11" fmla="*/ 310062 h 556225"/>
              <a:gd name="connsiteX12" fmla="*/ 84564 w 1456912"/>
              <a:gd name="connsiteY12" fmla="*/ 310062 h 556225"/>
              <a:gd name="connsiteX13" fmla="*/ 84564 w 1456912"/>
              <a:gd name="connsiteY13" fmla="*/ 28188 h 556225"/>
              <a:gd name="connsiteX14" fmla="*/ 410152 w 1456912"/>
              <a:gd name="connsiteY14" fmla="*/ 253686 h 556225"/>
              <a:gd name="connsiteX15" fmla="*/ 140937 w 1456912"/>
              <a:gd name="connsiteY15" fmla="*/ 253686 h 556225"/>
              <a:gd name="connsiteX16" fmla="*/ 140937 w 1456912"/>
              <a:gd name="connsiteY16" fmla="*/ 140940 h 556225"/>
              <a:gd name="connsiteX17" fmla="*/ 371171 w 1456912"/>
              <a:gd name="connsiteY17" fmla="*/ 140940 h 556225"/>
              <a:gd name="connsiteX18" fmla="*/ 399359 w 1456912"/>
              <a:gd name="connsiteY18" fmla="*/ 112752 h 556225"/>
              <a:gd name="connsiteX19" fmla="*/ 140937 w 1456912"/>
              <a:gd name="connsiteY19" fmla="*/ 112752 h 556225"/>
              <a:gd name="connsiteX20" fmla="*/ 140937 w 1456912"/>
              <a:gd name="connsiteY20" fmla="*/ 84564 h 556225"/>
              <a:gd name="connsiteX21" fmla="*/ 422811 w 1456912"/>
              <a:gd name="connsiteY21" fmla="*/ 84564 h 556225"/>
              <a:gd name="connsiteX22" fmla="*/ 422811 w 1456912"/>
              <a:gd name="connsiteY22" fmla="*/ 56376 h 556225"/>
              <a:gd name="connsiteX23" fmla="*/ 112749 w 1456912"/>
              <a:gd name="connsiteY23" fmla="*/ 56376 h 556225"/>
              <a:gd name="connsiteX24" fmla="*/ 112749 w 1456912"/>
              <a:gd name="connsiteY24" fmla="*/ 281874 h 556225"/>
              <a:gd name="connsiteX25" fmla="*/ 382334 w 1456912"/>
              <a:gd name="connsiteY25" fmla="*/ 281874 h 556225"/>
              <a:gd name="connsiteX26" fmla="*/ 410152 w 1456912"/>
              <a:gd name="connsiteY26" fmla="*/ 253686 h 556225"/>
              <a:gd name="connsiteX27" fmla="*/ 56376 w 1456912"/>
              <a:gd name="connsiteY27" fmla="*/ 535557 h 556225"/>
              <a:gd name="connsiteX28" fmla="*/ 84564 w 1456912"/>
              <a:gd name="connsiteY28" fmla="*/ 535557 h 556225"/>
              <a:gd name="connsiteX29" fmla="*/ 84564 w 1456912"/>
              <a:gd name="connsiteY29" fmla="*/ 394620 h 556225"/>
              <a:gd name="connsiteX30" fmla="*/ 112752 w 1456912"/>
              <a:gd name="connsiteY30" fmla="*/ 394620 h 556225"/>
              <a:gd name="connsiteX31" fmla="*/ 112752 w 1456912"/>
              <a:gd name="connsiteY31" fmla="*/ 511890 h 556225"/>
              <a:gd name="connsiteX32" fmla="*/ 140940 w 1456912"/>
              <a:gd name="connsiteY32" fmla="*/ 483705 h 556225"/>
              <a:gd name="connsiteX33" fmla="*/ 140940 w 1456912"/>
              <a:gd name="connsiteY33" fmla="*/ 394620 h 556225"/>
              <a:gd name="connsiteX34" fmla="*/ 367714 w 1456912"/>
              <a:gd name="connsiteY34" fmla="*/ 394620 h 556225"/>
              <a:gd name="connsiteX35" fmla="*/ 367714 w 1456912"/>
              <a:gd name="connsiteY35" fmla="*/ 366435 h 556225"/>
              <a:gd name="connsiteX36" fmla="*/ 56376 w 1456912"/>
              <a:gd name="connsiteY36" fmla="*/ 366435 h 556225"/>
              <a:gd name="connsiteX37" fmla="*/ 56376 w 1456912"/>
              <a:gd name="connsiteY37" fmla="*/ 535557 h 556225"/>
              <a:gd name="connsiteX38" fmla="*/ 1428724 w 1456912"/>
              <a:gd name="connsiteY38" fmla="*/ 0 h 556225"/>
              <a:gd name="connsiteX39" fmla="*/ 1428724 w 1456912"/>
              <a:gd name="connsiteY39" fmla="*/ 324156 h 556225"/>
              <a:gd name="connsiteX40" fmla="*/ 1316539 w 1456912"/>
              <a:gd name="connsiteY40" fmla="*/ 514089 h 556225"/>
              <a:gd name="connsiteX41" fmla="*/ 1315903 w 1456912"/>
              <a:gd name="connsiteY41" fmla="*/ 513258 h 556225"/>
              <a:gd name="connsiteX42" fmla="*/ 1400536 w 1456912"/>
              <a:gd name="connsiteY42" fmla="*/ 351869 h 556225"/>
              <a:gd name="connsiteX43" fmla="*/ 1400536 w 1456912"/>
              <a:gd name="connsiteY43" fmla="*/ 3 h 556225"/>
              <a:gd name="connsiteX44" fmla="*/ 1372348 w 1456912"/>
              <a:gd name="connsiteY44" fmla="*/ 3 h 556225"/>
              <a:gd name="connsiteX45" fmla="*/ 1372348 w 1456912"/>
              <a:gd name="connsiteY45" fmla="*/ 351400 h 556225"/>
              <a:gd name="connsiteX46" fmla="*/ 1189132 w 1456912"/>
              <a:gd name="connsiteY46" fmla="*/ 528510 h 556225"/>
              <a:gd name="connsiteX47" fmla="*/ 1005916 w 1456912"/>
              <a:gd name="connsiteY47" fmla="*/ 351400 h 556225"/>
              <a:gd name="connsiteX48" fmla="*/ 1005916 w 1456912"/>
              <a:gd name="connsiteY48" fmla="*/ 23666 h 556225"/>
              <a:gd name="connsiteX49" fmla="*/ 977728 w 1456912"/>
              <a:gd name="connsiteY49" fmla="*/ 51854 h 556225"/>
              <a:gd name="connsiteX50" fmla="*/ 977728 w 1456912"/>
              <a:gd name="connsiteY50" fmla="*/ 351869 h 556225"/>
              <a:gd name="connsiteX51" fmla="*/ 1189132 w 1456912"/>
              <a:gd name="connsiteY51" fmla="*/ 556226 h 556225"/>
              <a:gd name="connsiteX52" fmla="*/ 1217320 w 1456912"/>
              <a:gd name="connsiteY52" fmla="*/ 556226 h 556225"/>
              <a:gd name="connsiteX53" fmla="*/ 1456912 w 1456912"/>
              <a:gd name="connsiteY53" fmla="*/ 324566 h 556225"/>
              <a:gd name="connsiteX54" fmla="*/ 1456912 w 1456912"/>
              <a:gd name="connsiteY54" fmla="*/ 0 h 556225"/>
              <a:gd name="connsiteX55" fmla="*/ 1428724 w 1456912"/>
              <a:gd name="connsiteY55" fmla="*/ 0 h 556225"/>
              <a:gd name="connsiteX56" fmla="*/ 1189132 w 1456912"/>
              <a:gd name="connsiteY56" fmla="*/ 500322 h 556225"/>
              <a:gd name="connsiteX57" fmla="*/ 1344160 w 1456912"/>
              <a:gd name="connsiteY57" fmla="*/ 351400 h 556225"/>
              <a:gd name="connsiteX58" fmla="*/ 1344160 w 1456912"/>
              <a:gd name="connsiteY58" fmla="*/ 351400 h 556225"/>
              <a:gd name="connsiteX59" fmla="*/ 1344160 w 1456912"/>
              <a:gd name="connsiteY59" fmla="*/ 23666 h 556225"/>
              <a:gd name="connsiteX60" fmla="*/ 1315972 w 1456912"/>
              <a:gd name="connsiteY60" fmla="*/ 51854 h 556225"/>
              <a:gd name="connsiteX61" fmla="*/ 1315972 w 1456912"/>
              <a:gd name="connsiteY61" fmla="*/ 324153 h 556225"/>
              <a:gd name="connsiteX62" fmla="*/ 1217317 w 1456912"/>
              <a:gd name="connsiteY62" fmla="*/ 415761 h 556225"/>
              <a:gd name="connsiteX63" fmla="*/ 1118662 w 1456912"/>
              <a:gd name="connsiteY63" fmla="*/ 324153 h 556225"/>
              <a:gd name="connsiteX64" fmla="*/ 1118662 w 1456912"/>
              <a:gd name="connsiteY64" fmla="*/ 3 h 556225"/>
              <a:gd name="connsiteX65" fmla="*/ 1090474 w 1456912"/>
              <a:gd name="connsiteY65" fmla="*/ 3 h 556225"/>
              <a:gd name="connsiteX66" fmla="*/ 1090474 w 1456912"/>
              <a:gd name="connsiteY66" fmla="*/ 324156 h 556225"/>
              <a:gd name="connsiteX67" fmla="*/ 1217317 w 1456912"/>
              <a:gd name="connsiteY67" fmla="*/ 443951 h 556225"/>
              <a:gd name="connsiteX68" fmla="*/ 1304349 w 1456912"/>
              <a:gd name="connsiteY68" fmla="*/ 404889 h 556225"/>
              <a:gd name="connsiteX69" fmla="*/ 1304982 w 1456912"/>
              <a:gd name="connsiteY69" fmla="*/ 405720 h 556225"/>
              <a:gd name="connsiteX70" fmla="*/ 1189129 w 1456912"/>
              <a:gd name="connsiteY70" fmla="*/ 472139 h 556225"/>
              <a:gd name="connsiteX71" fmla="*/ 1062303 w 1456912"/>
              <a:gd name="connsiteY71" fmla="*/ 352344 h 556225"/>
              <a:gd name="connsiteX72" fmla="*/ 1062286 w 1456912"/>
              <a:gd name="connsiteY72" fmla="*/ 352344 h 556225"/>
              <a:gd name="connsiteX73" fmla="*/ 1062286 w 1456912"/>
              <a:gd name="connsiteY73" fmla="*/ 3 h 556225"/>
              <a:gd name="connsiteX74" fmla="*/ 1034098 w 1456912"/>
              <a:gd name="connsiteY74" fmla="*/ 3 h 556225"/>
              <a:gd name="connsiteX75" fmla="*/ 1034098 w 1456912"/>
              <a:gd name="connsiteY75" fmla="*/ 352341 h 556225"/>
              <a:gd name="connsiteX76" fmla="*/ 1034113 w 1456912"/>
              <a:gd name="connsiteY76" fmla="*/ 352341 h 556225"/>
              <a:gd name="connsiteX77" fmla="*/ 1189132 w 1456912"/>
              <a:gd name="connsiteY77" fmla="*/ 500322 h 556225"/>
              <a:gd name="connsiteX78" fmla="*/ 562774 w 1456912"/>
              <a:gd name="connsiteY78" fmla="*/ 366435 h 556225"/>
              <a:gd name="connsiteX79" fmla="*/ 491494 w 1456912"/>
              <a:gd name="connsiteY79" fmla="*/ 535557 h 556225"/>
              <a:gd name="connsiteX80" fmla="*/ 519684 w 1456912"/>
              <a:gd name="connsiteY80" fmla="*/ 535554 h 556225"/>
              <a:gd name="connsiteX81" fmla="*/ 519682 w 1456912"/>
              <a:gd name="connsiteY81" fmla="*/ 535557 h 556225"/>
              <a:gd name="connsiteX82" fmla="*/ 519684 w 1456912"/>
              <a:gd name="connsiteY82" fmla="*/ 535557 h 556225"/>
              <a:gd name="connsiteX83" fmla="*/ 555322 w 1456912"/>
              <a:gd name="connsiteY83" fmla="*/ 450996 h 556225"/>
              <a:gd name="connsiteX84" fmla="*/ 794138 w 1456912"/>
              <a:gd name="connsiteY84" fmla="*/ 450996 h 556225"/>
              <a:gd name="connsiteX85" fmla="*/ 829744 w 1456912"/>
              <a:gd name="connsiteY85" fmla="*/ 535557 h 556225"/>
              <a:gd name="connsiteX86" fmla="*/ 857932 w 1456912"/>
              <a:gd name="connsiteY86" fmla="*/ 535557 h 556225"/>
              <a:gd name="connsiteX87" fmla="*/ 810457 w 1456912"/>
              <a:gd name="connsiteY87" fmla="*/ 422808 h 556225"/>
              <a:gd name="connsiteX88" fmla="*/ 567200 w 1456912"/>
              <a:gd name="connsiteY88" fmla="*/ 422808 h 556225"/>
              <a:gd name="connsiteX89" fmla="*/ 579078 w 1456912"/>
              <a:gd name="connsiteY89" fmla="*/ 394620 h 556225"/>
              <a:gd name="connsiteX90" fmla="*/ 826776 w 1456912"/>
              <a:gd name="connsiteY90" fmla="*/ 394620 h 556225"/>
              <a:gd name="connsiteX91" fmla="*/ 886120 w 1456912"/>
              <a:gd name="connsiteY91" fmla="*/ 535557 h 556225"/>
              <a:gd name="connsiteX92" fmla="*/ 914308 w 1456912"/>
              <a:gd name="connsiteY92" fmla="*/ 535557 h 556225"/>
              <a:gd name="connsiteX93" fmla="*/ 843097 w 1456912"/>
              <a:gd name="connsiteY93" fmla="*/ 366435 h 556225"/>
              <a:gd name="connsiteX94" fmla="*/ 562774 w 1456912"/>
              <a:gd name="connsiteY94" fmla="*/ 366435 h 556225"/>
              <a:gd name="connsiteX95" fmla="*/ 604248 w 1456912"/>
              <a:gd name="connsiteY95" fmla="*/ 0 h 556225"/>
              <a:gd name="connsiteX96" fmla="*/ 397091 w 1456912"/>
              <a:gd name="connsiteY96" fmla="*/ 491374 h 556225"/>
              <a:gd name="connsiteX97" fmla="*/ 415032 w 1456912"/>
              <a:gd name="connsiteY97" fmla="*/ 515732 h 556225"/>
              <a:gd name="connsiteX98" fmla="*/ 632437 w 1456912"/>
              <a:gd name="connsiteY98" fmla="*/ 0 h 556225"/>
              <a:gd name="connsiteX99" fmla="*/ 604248 w 1456912"/>
              <a:gd name="connsiteY99" fmla="*/ 0 h 556225"/>
              <a:gd name="connsiteX100" fmla="*/ 716998 w 1456912"/>
              <a:gd name="connsiteY100" fmla="*/ 3 h 556225"/>
              <a:gd name="connsiteX101" fmla="*/ 934130 w 1456912"/>
              <a:gd name="connsiteY101" fmla="*/ 515735 h 556225"/>
              <a:gd name="connsiteX102" fmla="*/ 952028 w 1456912"/>
              <a:gd name="connsiteY102" fmla="*/ 491377 h 556225"/>
              <a:gd name="connsiteX103" fmla="*/ 745186 w 1456912"/>
              <a:gd name="connsiteY103" fmla="*/ 3 h 556225"/>
              <a:gd name="connsiteX104" fmla="*/ 716998 w 1456912"/>
              <a:gd name="connsiteY104" fmla="*/ 3 h 556225"/>
              <a:gd name="connsiteX105" fmla="*/ 546409 w 1456912"/>
              <a:gd name="connsiteY105" fmla="*/ 338247 h 556225"/>
              <a:gd name="connsiteX106" fmla="*/ 463042 w 1456912"/>
              <a:gd name="connsiteY106" fmla="*/ 535557 h 556225"/>
              <a:gd name="connsiteX107" fmla="*/ 434854 w 1456912"/>
              <a:gd name="connsiteY107" fmla="*/ 535557 h 556225"/>
              <a:gd name="connsiteX108" fmla="*/ 646528 w 1456912"/>
              <a:gd name="connsiteY108" fmla="*/ 33467 h 556225"/>
              <a:gd name="connsiteX109" fmla="*/ 762988 w 1456912"/>
              <a:gd name="connsiteY109" fmla="*/ 310059 h 556225"/>
              <a:gd name="connsiteX110" fmla="*/ 791176 w 1456912"/>
              <a:gd name="connsiteY110" fmla="*/ 310059 h 556225"/>
              <a:gd name="connsiteX111" fmla="*/ 660624 w 1456912"/>
              <a:gd name="connsiteY111" fmla="*/ 3 h 556225"/>
              <a:gd name="connsiteX112" fmla="*/ 688812 w 1456912"/>
              <a:gd name="connsiteY112" fmla="*/ 3 h 556225"/>
              <a:gd name="connsiteX113" fmla="*/ 831231 w 1456912"/>
              <a:gd name="connsiteY113" fmla="*/ 338247 h 556225"/>
              <a:gd name="connsiteX114" fmla="*/ 546409 w 1456912"/>
              <a:gd name="connsiteY114" fmla="*/ 338247 h 556225"/>
              <a:gd name="connsiteX115" fmla="*/ 674788 w 1456912"/>
              <a:gd name="connsiteY115" fmla="*/ 167531 h 556225"/>
              <a:gd name="connsiteX116" fmla="*/ 614721 w 1456912"/>
              <a:gd name="connsiteY116" fmla="*/ 310062 h 556225"/>
              <a:gd name="connsiteX117" fmla="*/ 734800 w 1456912"/>
              <a:gd name="connsiteY117" fmla="*/ 310062 h 556225"/>
              <a:gd name="connsiteX118" fmla="*/ 674788 w 1456912"/>
              <a:gd name="connsiteY118" fmla="*/ 167531 h 556225"/>
              <a:gd name="connsiteX119" fmla="*/ 558275 w 1456912"/>
              <a:gd name="connsiteY119" fmla="*/ 310062 h 556225"/>
              <a:gd name="connsiteX120" fmla="*/ 586535 w 1456912"/>
              <a:gd name="connsiteY120" fmla="*/ 310062 h 556225"/>
              <a:gd name="connsiteX121" fmla="*/ 660703 w 1456912"/>
              <a:gd name="connsiteY121" fmla="*/ 134072 h 556225"/>
              <a:gd name="connsiteX122" fmla="*/ 646588 w 1456912"/>
              <a:gd name="connsiteY122" fmla="*/ 100553 h 556225"/>
              <a:gd name="connsiteX123" fmla="*/ 558275 w 1456912"/>
              <a:gd name="connsiteY123" fmla="*/ 310062 h 5562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</a:cxnLst>
            <a:rect l="l" t="t" r="r" b="b"/>
            <a:pathLst>
              <a:path w="1456912" h="556225">
                <a:moveTo>
                  <a:pt x="0" y="51854"/>
                </a:moveTo>
                <a:lnTo>
                  <a:pt x="28188" y="23666"/>
                </a:lnTo>
                <a:lnTo>
                  <a:pt x="28188" y="535557"/>
                </a:lnTo>
                <a:lnTo>
                  <a:pt x="0" y="535557"/>
                </a:lnTo>
                <a:lnTo>
                  <a:pt x="0" y="51854"/>
                </a:lnTo>
                <a:close/>
                <a:moveTo>
                  <a:pt x="84564" y="28188"/>
                </a:moveTo>
                <a:lnTo>
                  <a:pt x="422811" y="28188"/>
                </a:lnTo>
                <a:lnTo>
                  <a:pt x="422811" y="0"/>
                </a:lnTo>
                <a:lnTo>
                  <a:pt x="56376" y="0"/>
                </a:lnTo>
                <a:lnTo>
                  <a:pt x="56376" y="338244"/>
                </a:lnTo>
                <a:lnTo>
                  <a:pt x="367711" y="338244"/>
                </a:lnTo>
                <a:lnTo>
                  <a:pt x="367711" y="310062"/>
                </a:lnTo>
                <a:lnTo>
                  <a:pt x="84564" y="310062"/>
                </a:lnTo>
                <a:lnTo>
                  <a:pt x="84564" y="28188"/>
                </a:lnTo>
                <a:close/>
                <a:moveTo>
                  <a:pt x="410152" y="253686"/>
                </a:moveTo>
                <a:lnTo>
                  <a:pt x="140937" y="253686"/>
                </a:lnTo>
                <a:lnTo>
                  <a:pt x="140937" y="140940"/>
                </a:lnTo>
                <a:lnTo>
                  <a:pt x="371171" y="140940"/>
                </a:lnTo>
                <a:lnTo>
                  <a:pt x="399359" y="112752"/>
                </a:lnTo>
                <a:lnTo>
                  <a:pt x="140937" y="112752"/>
                </a:lnTo>
                <a:lnTo>
                  <a:pt x="140937" y="84564"/>
                </a:lnTo>
                <a:lnTo>
                  <a:pt x="422811" y="84564"/>
                </a:lnTo>
                <a:lnTo>
                  <a:pt x="422811" y="56376"/>
                </a:lnTo>
                <a:lnTo>
                  <a:pt x="112749" y="56376"/>
                </a:lnTo>
                <a:lnTo>
                  <a:pt x="112749" y="281874"/>
                </a:lnTo>
                <a:lnTo>
                  <a:pt x="382334" y="281874"/>
                </a:lnTo>
                <a:lnTo>
                  <a:pt x="410152" y="253686"/>
                </a:lnTo>
                <a:close/>
                <a:moveTo>
                  <a:pt x="56376" y="535557"/>
                </a:moveTo>
                <a:lnTo>
                  <a:pt x="84564" y="535557"/>
                </a:lnTo>
                <a:lnTo>
                  <a:pt x="84564" y="394620"/>
                </a:lnTo>
                <a:lnTo>
                  <a:pt x="112752" y="394620"/>
                </a:lnTo>
                <a:lnTo>
                  <a:pt x="112752" y="511890"/>
                </a:lnTo>
                <a:lnTo>
                  <a:pt x="140940" y="483705"/>
                </a:lnTo>
                <a:lnTo>
                  <a:pt x="140940" y="394620"/>
                </a:lnTo>
                <a:lnTo>
                  <a:pt x="367714" y="394620"/>
                </a:lnTo>
                <a:lnTo>
                  <a:pt x="367714" y="366435"/>
                </a:lnTo>
                <a:lnTo>
                  <a:pt x="56376" y="366435"/>
                </a:lnTo>
                <a:lnTo>
                  <a:pt x="56376" y="535557"/>
                </a:lnTo>
                <a:close/>
                <a:moveTo>
                  <a:pt x="1428724" y="0"/>
                </a:moveTo>
                <a:lnTo>
                  <a:pt x="1428724" y="324156"/>
                </a:lnTo>
                <a:cubicBezTo>
                  <a:pt x="1428724" y="399584"/>
                  <a:pt x="1395069" y="464387"/>
                  <a:pt x="1316539" y="514089"/>
                </a:cubicBezTo>
                <a:lnTo>
                  <a:pt x="1315903" y="513258"/>
                </a:lnTo>
                <a:cubicBezTo>
                  <a:pt x="1367503" y="472336"/>
                  <a:pt x="1400536" y="419773"/>
                  <a:pt x="1400536" y="351869"/>
                </a:cubicBezTo>
                <a:lnTo>
                  <a:pt x="1400536" y="3"/>
                </a:lnTo>
                <a:lnTo>
                  <a:pt x="1372348" y="3"/>
                </a:lnTo>
                <a:lnTo>
                  <a:pt x="1372348" y="351400"/>
                </a:lnTo>
                <a:cubicBezTo>
                  <a:pt x="1372348" y="452590"/>
                  <a:pt x="1290318" y="528510"/>
                  <a:pt x="1189132" y="528510"/>
                </a:cubicBezTo>
                <a:cubicBezTo>
                  <a:pt x="1087946" y="528510"/>
                  <a:pt x="1005916" y="452587"/>
                  <a:pt x="1005916" y="351400"/>
                </a:cubicBezTo>
                <a:lnTo>
                  <a:pt x="1005916" y="23666"/>
                </a:lnTo>
                <a:lnTo>
                  <a:pt x="977728" y="51854"/>
                </a:lnTo>
                <a:lnTo>
                  <a:pt x="977728" y="351869"/>
                </a:lnTo>
                <a:cubicBezTo>
                  <a:pt x="977728" y="468625"/>
                  <a:pt x="1072376" y="556226"/>
                  <a:pt x="1189132" y="556226"/>
                </a:cubicBezTo>
                <a:cubicBezTo>
                  <a:pt x="1191834" y="556226"/>
                  <a:pt x="1217320" y="556226"/>
                  <a:pt x="1217320" y="556226"/>
                </a:cubicBezTo>
                <a:cubicBezTo>
                  <a:pt x="1332291" y="556226"/>
                  <a:pt x="1456912" y="471321"/>
                  <a:pt x="1456912" y="324566"/>
                </a:cubicBezTo>
                <a:cubicBezTo>
                  <a:pt x="1456912" y="324428"/>
                  <a:pt x="1456912" y="0"/>
                  <a:pt x="1456912" y="0"/>
                </a:cubicBezTo>
                <a:lnTo>
                  <a:pt x="1428724" y="0"/>
                </a:lnTo>
                <a:close/>
                <a:moveTo>
                  <a:pt x="1189132" y="500322"/>
                </a:moveTo>
                <a:cubicBezTo>
                  <a:pt x="1274706" y="500322"/>
                  <a:pt x="1344082" y="436948"/>
                  <a:pt x="1344160" y="351400"/>
                </a:cubicBezTo>
                <a:lnTo>
                  <a:pt x="1344160" y="351400"/>
                </a:lnTo>
                <a:lnTo>
                  <a:pt x="1344160" y="23666"/>
                </a:lnTo>
                <a:lnTo>
                  <a:pt x="1315972" y="51854"/>
                </a:lnTo>
                <a:lnTo>
                  <a:pt x="1315972" y="324153"/>
                </a:lnTo>
                <a:cubicBezTo>
                  <a:pt x="1315972" y="378637"/>
                  <a:pt x="1271801" y="415761"/>
                  <a:pt x="1217317" y="415761"/>
                </a:cubicBezTo>
                <a:cubicBezTo>
                  <a:pt x="1162833" y="415761"/>
                  <a:pt x="1118662" y="378637"/>
                  <a:pt x="1118662" y="324153"/>
                </a:cubicBezTo>
                <a:lnTo>
                  <a:pt x="1118662" y="3"/>
                </a:lnTo>
                <a:lnTo>
                  <a:pt x="1090474" y="3"/>
                </a:lnTo>
                <a:lnTo>
                  <a:pt x="1090474" y="324156"/>
                </a:lnTo>
                <a:cubicBezTo>
                  <a:pt x="1090474" y="394209"/>
                  <a:pt x="1147264" y="443951"/>
                  <a:pt x="1217317" y="443951"/>
                </a:cubicBezTo>
                <a:cubicBezTo>
                  <a:pt x="1245962" y="443951"/>
                  <a:pt x="1280732" y="429800"/>
                  <a:pt x="1304349" y="404889"/>
                </a:cubicBezTo>
                <a:lnTo>
                  <a:pt x="1304982" y="405720"/>
                </a:lnTo>
                <a:cubicBezTo>
                  <a:pt x="1282838" y="446784"/>
                  <a:pt x="1241907" y="472139"/>
                  <a:pt x="1189129" y="472139"/>
                </a:cubicBezTo>
                <a:cubicBezTo>
                  <a:pt x="1119507" y="472139"/>
                  <a:pt x="1062992" y="421734"/>
                  <a:pt x="1062303" y="352344"/>
                </a:cubicBezTo>
                <a:lnTo>
                  <a:pt x="1062286" y="352344"/>
                </a:lnTo>
                <a:lnTo>
                  <a:pt x="1062286" y="3"/>
                </a:lnTo>
                <a:lnTo>
                  <a:pt x="1034098" y="3"/>
                </a:lnTo>
                <a:lnTo>
                  <a:pt x="1034098" y="352341"/>
                </a:lnTo>
                <a:lnTo>
                  <a:pt x="1034113" y="352341"/>
                </a:lnTo>
                <a:cubicBezTo>
                  <a:pt x="1034703" y="437411"/>
                  <a:pt x="1103877" y="500322"/>
                  <a:pt x="1189132" y="500322"/>
                </a:cubicBezTo>
                <a:close/>
                <a:moveTo>
                  <a:pt x="562774" y="366435"/>
                </a:moveTo>
                <a:lnTo>
                  <a:pt x="491494" y="535557"/>
                </a:lnTo>
                <a:lnTo>
                  <a:pt x="519684" y="535554"/>
                </a:lnTo>
                <a:lnTo>
                  <a:pt x="519682" y="535557"/>
                </a:lnTo>
                <a:lnTo>
                  <a:pt x="519684" y="535557"/>
                </a:lnTo>
                <a:lnTo>
                  <a:pt x="555322" y="450996"/>
                </a:lnTo>
                <a:lnTo>
                  <a:pt x="794138" y="450996"/>
                </a:lnTo>
                <a:lnTo>
                  <a:pt x="829744" y="535557"/>
                </a:lnTo>
                <a:lnTo>
                  <a:pt x="857932" y="535557"/>
                </a:lnTo>
                <a:lnTo>
                  <a:pt x="810457" y="422808"/>
                </a:lnTo>
                <a:lnTo>
                  <a:pt x="567200" y="422808"/>
                </a:lnTo>
                <a:lnTo>
                  <a:pt x="579078" y="394620"/>
                </a:lnTo>
                <a:lnTo>
                  <a:pt x="826776" y="394620"/>
                </a:lnTo>
                <a:lnTo>
                  <a:pt x="886120" y="535557"/>
                </a:lnTo>
                <a:lnTo>
                  <a:pt x="914308" y="535557"/>
                </a:lnTo>
                <a:lnTo>
                  <a:pt x="843097" y="366435"/>
                </a:lnTo>
                <a:lnTo>
                  <a:pt x="562774" y="366435"/>
                </a:lnTo>
                <a:close/>
                <a:moveTo>
                  <a:pt x="604248" y="0"/>
                </a:moveTo>
                <a:lnTo>
                  <a:pt x="397091" y="491374"/>
                </a:lnTo>
                <a:lnTo>
                  <a:pt x="415032" y="515732"/>
                </a:lnTo>
                <a:lnTo>
                  <a:pt x="632437" y="0"/>
                </a:lnTo>
                <a:lnTo>
                  <a:pt x="604248" y="0"/>
                </a:lnTo>
                <a:close/>
                <a:moveTo>
                  <a:pt x="716998" y="3"/>
                </a:moveTo>
                <a:lnTo>
                  <a:pt x="934130" y="515735"/>
                </a:lnTo>
                <a:lnTo>
                  <a:pt x="952028" y="491377"/>
                </a:lnTo>
                <a:lnTo>
                  <a:pt x="745186" y="3"/>
                </a:lnTo>
                <a:lnTo>
                  <a:pt x="716998" y="3"/>
                </a:lnTo>
                <a:close/>
                <a:moveTo>
                  <a:pt x="546409" y="338247"/>
                </a:moveTo>
                <a:lnTo>
                  <a:pt x="463042" y="535557"/>
                </a:lnTo>
                <a:lnTo>
                  <a:pt x="434854" y="535557"/>
                </a:lnTo>
                <a:lnTo>
                  <a:pt x="646528" y="33467"/>
                </a:lnTo>
                <a:lnTo>
                  <a:pt x="762988" y="310059"/>
                </a:lnTo>
                <a:lnTo>
                  <a:pt x="791176" y="310059"/>
                </a:lnTo>
                <a:lnTo>
                  <a:pt x="660624" y="3"/>
                </a:lnTo>
                <a:lnTo>
                  <a:pt x="688812" y="3"/>
                </a:lnTo>
                <a:lnTo>
                  <a:pt x="831231" y="338247"/>
                </a:lnTo>
                <a:lnTo>
                  <a:pt x="546409" y="338247"/>
                </a:lnTo>
                <a:close/>
                <a:moveTo>
                  <a:pt x="674788" y="167531"/>
                </a:moveTo>
                <a:lnTo>
                  <a:pt x="614721" y="310062"/>
                </a:lnTo>
                <a:lnTo>
                  <a:pt x="734800" y="310062"/>
                </a:lnTo>
                <a:lnTo>
                  <a:pt x="674788" y="167531"/>
                </a:lnTo>
                <a:close/>
                <a:moveTo>
                  <a:pt x="558275" y="310062"/>
                </a:moveTo>
                <a:lnTo>
                  <a:pt x="586535" y="310062"/>
                </a:lnTo>
                <a:lnTo>
                  <a:pt x="660703" y="134072"/>
                </a:lnTo>
                <a:lnTo>
                  <a:pt x="646588" y="100553"/>
                </a:lnTo>
                <a:lnTo>
                  <a:pt x="558275" y="310062"/>
                </a:lnTo>
                <a:close/>
              </a:path>
            </a:pathLst>
          </a:custGeom>
          <a:solidFill>
            <a:schemeClr val="tx1"/>
          </a:solidFill>
          <a:ln w="2892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143" name="Rechteck 142">
            <a:extLst>
              <a:ext uri="{FF2B5EF4-FFF2-40B4-BE49-F238E27FC236}">
                <a16:creationId xmlns:a16="http://schemas.microsoft.com/office/drawing/2014/main" id="{108A481D-2E1F-45DF-86E1-B64481B3202A}"/>
              </a:ext>
            </a:extLst>
          </p:cNvPr>
          <p:cNvSpPr/>
          <p:nvPr userDrawn="1"/>
        </p:nvSpPr>
        <p:spPr>
          <a:xfrm>
            <a:off x="518400" y="1413835"/>
            <a:ext cx="11676062" cy="72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144" name="Grafik 143">
            <a:extLst>
              <a:ext uri="{FF2B5EF4-FFF2-40B4-BE49-F238E27FC236}">
                <a16:creationId xmlns:a16="http://schemas.microsoft.com/office/drawing/2014/main" id="{3CA445D2-E628-47F5-8A26-10F5CBE230A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09578" y="293687"/>
            <a:ext cx="2604169" cy="5568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7971655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B494B1E8-B150-47D8-BFC1-832FA1865A6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075048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10" imgH="312" progId="TCLayout.ActiveDocument.1">
                  <p:embed/>
                </p:oleObj>
              </mc:Choice>
              <mc:Fallback>
                <p:oleObj name="think-cell Folie" r:id="rId3" imgW="310" imgH="312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B494B1E8-B150-47D8-BFC1-832FA1865A6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5E0522E-4B59-4195-AD23-1DB4381AB6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7276614-C801-48D1-BE5E-3E261D899ED8}" type="datetime4">
              <a:rPr lang="de-DE" smtClean="0"/>
              <a:t>19. Dezember 2022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0F6FD0B-B0A5-4052-BAB6-95BD027E8C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15937" y="6634666"/>
            <a:ext cx="9574509" cy="123111"/>
          </a:xfrm>
        </p:spPr>
        <p:txBody>
          <a:bodyPr/>
          <a:lstStyle/>
          <a:p>
            <a:r>
              <a:rPr lang="de-DE"/>
              <a:t>… | Lehrstuhl für Digital Industrial Service Systems | &lt;Name des Dozenten&gt;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0385CA6-0215-4C6D-9658-F37EA26CE8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1" name="Textplatzhalter 9">
            <a:extLst>
              <a:ext uri="{FF2B5EF4-FFF2-40B4-BE49-F238E27FC236}">
                <a16:creationId xmlns:a16="http://schemas.microsoft.com/office/drawing/2014/main" id="{391E3CF3-4749-4988-84A7-41187275F95B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518319" y="1631157"/>
            <a:ext cx="11157742" cy="4569619"/>
          </a:xfrm>
        </p:spPr>
        <p:txBody>
          <a:bodyPr wrap="square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de-DE" noProof="0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8531AA6C-45F6-4DAB-84E5-02BCC876C604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18319" y="6221277"/>
            <a:ext cx="11157742" cy="132149"/>
          </a:xfrm>
        </p:spPr>
        <p:txBody>
          <a:bodyPr rIns="0">
            <a:noAutofit/>
          </a:bodyPr>
          <a:lstStyle>
            <a:lvl1pPr algn="r">
              <a:lnSpc>
                <a:spcPct val="100000"/>
              </a:lnSpc>
              <a:spcAft>
                <a:spcPts val="0"/>
              </a:spcAft>
              <a:defRPr sz="8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lvl="0"/>
            <a:r>
              <a:rPr lang="de-DE" dirty="0"/>
              <a:t>Quelle:</a:t>
            </a:r>
          </a:p>
        </p:txBody>
      </p:sp>
      <p:sp>
        <p:nvSpPr>
          <p:cNvPr id="18" name="Titelplatzhalter 1">
            <a:extLst>
              <a:ext uri="{FF2B5EF4-FFF2-40B4-BE49-F238E27FC236}">
                <a16:creationId xmlns:a16="http://schemas.microsoft.com/office/drawing/2014/main" id="{8D91CC63-EC57-4924-A724-1CDFF2666E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8318" y="301183"/>
            <a:ext cx="9574509" cy="666000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rmAutofit/>
          </a:bodyPr>
          <a:lstStyle>
            <a:lvl1pPr>
              <a:defRPr>
                <a:solidFill>
                  <a:srgbClr val="041E42"/>
                </a:solidFill>
              </a:defRPr>
            </a:lvl1pPr>
          </a:lstStyle>
          <a:p>
            <a:r>
              <a:rPr lang="de-DE" noProof="0" dirty="0"/>
              <a:t>[Action-Title]: Kernaussage des Bilds ausdrücken, </a:t>
            </a:r>
            <a:br>
              <a:rPr lang="de-DE" noProof="0" dirty="0"/>
            </a:br>
            <a:r>
              <a:rPr lang="de-DE" noProof="0" dirty="0"/>
              <a:t>maximal zwei Zeilen, „sprechende Titel“</a:t>
            </a:r>
            <a:endParaRPr lang="de-DE" dirty="0"/>
          </a:p>
        </p:txBody>
      </p:sp>
      <p:sp>
        <p:nvSpPr>
          <p:cNvPr id="19" name="Textplatzhalter 6">
            <a:extLst>
              <a:ext uri="{FF2B5EF4-FFF2-40B4-BE49-F238E27FC236}">
                <a16:creationId xmlns:a16="http://schemas.microsoft.com/office/drawing/2014/main" id="{E76EDA7A-C3DC-4A17-8264-EF17021BD3D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8318" y="987403"/>
            <a:ext cx="9574510" cy="281103"/>
          </a:xfrm>
        </p:spPr>
        <p:txBody>
          <a:bodyPr anchor="ctr">
            <a:normAutofit/>
          </a:bodyPr>
          <a:lstStyle>
            <a:lvl1pPr>
              <a:defRPr sz="1800">
                <a:solidFill>
                  <a:srgbClr val="041E4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3"/>
              </a:buClr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noProof="0" dirty="0"/>
              <a:t>[</a:t>
            </a:r>
            <a:r>
              <a:rPr lang="de-DE" noProof="0" dirty="0" err="1"/>
              <a:t>Subtitle</a:t>
            </a:r>
            <a:r>
              <a:rPr lang="de-DE" noProof="0" dirty="0"/>
              <a:t>]: Zusammenfassung in Stichwörtern, keine Sätze</a:t>
            </a:r>
          </a:p>
        </p:txBody>
      </p:sp>
    </p:spTree>
    <p:extLst>
      <p:ext uri="{BB962C8B-B14F-4D97-AF65-F5344CB8AC3E}">
        <p14:creationId xmlns:p14="http://schemas.microsoft.com/office/powerpoint/2010/main" val="140970288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folie | zweispalt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310B988B-3F29-43AB-A28D-71293531273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144663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10" imgH="312" progId="TCLayout.ActiveDocument.1">
                  <p:embed/>
                </p:oleObj>
              </mc:Choice>
              <mc:Fallback>
                <p:oleObj name="think-cell Folie" r:id="rId3" imgW="310" imgH="312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310B988B-3F29-43AB-A28D-71293531273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5E0522E-4B59-4195-AD23-1DB4381AB6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9FB17B1-4EF5-4E82-B64D-6D9D06630995}" type="datetime4">
              <a:rPr lang="de-DE" smtClean="0"/>
              <a:t>19. Dezember 2022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0F6FD0B-B0A5-4052-BAB6-95BD027E8C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15937" y="6634666"/>
            <a:ext cx="9574509" cy="123111"/>
          </a:xfrm>
        </p:spPr>
        <p:txBody>
          <a:bodyPr/>
          <a:lstStyle/>
          <a:p>
            <a:r>
              <a:rPr lang="de-DE"/>
              <a:t>… | Lehrstuhl für Digital Industrial Service Systems | &lt;Name des Dozenten&gt;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0385CA6-0215-4C6D-9658-F37EA26CE8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1" name="Textplatzhalter 9">
            <a:extLst>
              <a:ext uri="{FF2B5EF4-FFF2-40B4-BE49-F238E27FC236}">
                <a16:creationId xmlns:a16="http://schemas.microsoft.com/office/drawing/2014/main" id="{391E3CF3-4749-4988-84A7-41187275F95B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518319" y="1631157"/>
            <a:ext cx="5469732" cy="4569619"/>
          </a:xfrm>
        </p:spPr>
        <p:txBody>
          <a:bodyPr wrap="square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de-DE" noProof="0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8531AA6C-45F6-4DAB-84E5-02BCC876C604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18319" y="6221277"/>
            <a:ext cx="11157742" cy="132149"/>
          </a:xfrm>
        </p:spPr>
        <p:txBody>
          <a:bodyPr rIns="0">
            <a:noAutofit/>
          </a:bodyPr>
          <a:lstStyle>
            <a:lvl1pPr algn="r">
              <a:lnSpc>
                <a:spcPct val="100000"/>
              </a:lnSpc>
              <a:spcAft>
                <a:spcPts val="0"/>
              </a:spcAft>
              <a:defRPr sz="8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lvl="0"/>
            <a:r>
              <a:rPr lang="de-DE" dirty="0"/>
              <a:t>Quelle:</a:t>
            </a:r>
          </a:p>
        </p:txBody>
      </p:sp>
      <p:sp>
        <p:nvSpPr>
          <p:cNvPr id="18" name="Titelplatzhalter 1">
            <a:extLst>
              <a:ext uri="{FF2B5EF4-FFF2-40B4-BE49-F238E27FC236}">
                <a16:creationId xmlns:a16="http://schemas.microsoft.com/office/drawing/2014/main" id="{8D91CC63-EC57-4924-A724-1CDFF2666E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8318" y="301183"/>
            <a:ext cx="9574509" cy="666000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rmAutofit/>
          </a:bodyPr>
          <a:lstStyle>
            <a:lvl1pPr>
              <a:defRPr>
                <a:solidFill>
                  <a:srgbClr val="041E42"/>
                </a:solidFill>
              </a:defRPr>
            </a:lvl1pPr>
          </a:lstStyle>
          <a:p>
            <a:r>
              <a:rPr lang="de-DE" noProof="0" dirty="0"/>
              <a:t>[Action-Title]: Kernaussage des Bilds ausdrücken, </a:t>
            </a:r>
            <a:br>
              <a:rPr lang="de-DE" noProof="0" dirty="0"/>
            </a:br>
            <a:r>
              <a:rPr lang="de-DE" noProof="0" dirty="0"/>
              <a:t>maximal zwei Zeilen, „sprechende Titel“</a:t>
            </a:r>
            <a:endParaRPr lang="de-DE" dirty="0"/>
          </a:p>
        </p:txBody>
      </p:sp>
      <p:sp>
        <p:nvSpPr>
          <p:cNvPr id="19" name="Textplatzhalter 6">
            <a:extLst>
              <a:ext uri="{FF2B5EF4-FFF2-40B4-BE49-F238E27FC236}">
                <a16:creationId xmlns:a16="http://schemas.microsoft.com/office/drawing/2014/main" id="{E76EDA7A-C3DC-4A17-8264-EF17021BD3D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8318" y="987403"/>
            <a:ext cx="9574510" cy="281103"/>
          </a:xfrm>
        </p:spPr>
        <p:txBody>
          <a:bodyPr anchor="ctr">
            <a:normAutofit/>
          </a:bodyPr>
          <a:lstStyle>
            <a:lvl1pPr>
              <a:defRPr sz="1800">
                <a:solidFill>
                  <a:srgbClr val="041E4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3"/>
              </a:buClr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noProof="0" dirty="0"/>
              <a:t>[</a:t>
            </a:r>
            <a:r>
              <a:rPr lang="de-DE" noProof="0" dirty="0" err="1"/>
              <a:t>Subtitle</a:t>
            </a:r>
            <a:r>
              <a:rPr lang="de-DE" noProof="0" dirty="0"/>
              <a:t>]: Zusammenfassung in Stichwörtern, keine Sätze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ECFAE3CB-72CD-47F3-AC56-7CDAC235E1DB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6206329" y="1631156"/>
            <a:ext cx="5469732" cy="4569619"/>
          </a:xfrm>
        </p:spPr>
        <p:txBody>
          <a:bodyPr>
            <a:noAutofit/>
          </a:bodyPr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171633637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folie | dreispalt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5E0522E-4B59-4195-AD23-1DB4381AB6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B15DED9-9AF1-49E6-842A-BFCE5BF99E9D}" type="datetime4">
              <a:rPr lang="de-DE" smtClean="0"/>
              <a:t>19. Dezember 2022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0F6FD0B-B0A5-4052-BAB6-95BD027E8C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15937" y="6634666"/>
            <a:ext cx="9574509" cy="123111"/>
          </a:xfrm>
        </p:spPr>
        <p:txBody>
          <a:bodyPr/>
          <a:lstStyle/>
          <a:p>
            <a:r>
              <a:rPr lang="de-DE"/>
              <a:t>… | Lehrstuhl für Digital Industrial Service Systems | &lt;Name des Dozenten&gt;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0385CA6-0215-4C6D-9658-F37EA26CE8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1" name="Textplatzhalter 9">
            <a:extLst>
              <a:ext uri="{FF2B5EF4-FFF2-40B4-BE49-F238E27FC236}">
                <a16:creationId xmlns:a16="http://schemas.microsoft.com/office/drawing/2014/main" id="{391E3CF3-4749-4988-84A7-41187275F95B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518320" y="1631157"/>
            <a:ext cx="3568821" cy="4569619"/>
          </a:xfrm>
        </p:spPr>
        <p:txBody>
          <a:bodyPr wrap="square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de-DE" noProof="0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8531AA6C-45F6-4DAB-84E5-02BCC876C604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18319" y="6221277"/>
            <a:ext cx="11157742" cy="132149"/>
          </a:xfrm>
        </p:spPr>
        <p:txBody>
          <a:bodyPr rIns="0">
            <a:noAutofit/>
          </a:bodyPr>
          <a:lstStyle>
            <a:lvl1pPr algn="r">
              <a:lnSpc>
                <a:spcPct val="100000"/>
              </a:lnSpc>
              <a:spcAft>
                <a:spcPts val="0"/>
              </a:spcAft>
              <a:defRPr sz="8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lvl="0"/>
            <a:r>
              <a:rPr lang="de-DE" dirty="0"/>
              <a:t>Quelle:</a:t>
            </a:r>
          </a:p>
        </p:txBody>
      </p:sp>
      <p:sp>
        <p:nvSpPr>
          <p:cNvPr id="18" name="Titelplatzhalter 1">
            <a:extLst>
              <a:ext uri="{FF2B5EF4-FFF2-40B4-BE49-F238E27FC236}">
                <a16:creationId xmlns:a16="http://schemas.microsoft.com/office/drawing/2014/main" id="{8D91CC63-EC57-4924-A724-1CDFF2666E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8318" y="301183"/>
            <a:ext cx="9574509" cy="666000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rmAutofit/>
          </a:bodyPr>
          <a:lstStyle/>
          <a:p>
            <a:r>
              <a:rPr lang="de-DE" noProof="0" dirty="0"/>
              <a:t>[Action-Title]: Kernaussage des Bilds ausdrücken, </a:t>
            </a:r>
            <a:br>
              <a:rPr lang="de-DE" noProof="0" dirty="0"/>
            </a:br>
            <a:r>
              <a:rPr lang="de-DE" noProof="0" dirty="0"/>
              <a:t>maximal zwei Zeilen, „sprechende Titel“</a:t>
            </a:r>
            <a:endParaRPr lang="de-DE" dirty="0"/>
          </a:p>
        </p:txBody>
      </p:sp>
      <p:sp>
        <p:nvSpPr>
          <p:cNvPr id="19" name="Textplatzhalter 6">
            <a:extLst>
              <a:ext uri="{FF2B5EF4-FFF2-40B4-BE49-F238E27FC236}">
                <a16:creationId xmlns:a16="http://schemas.microsoft.com/office/drawing/2014/main" id="{E76EDA7A-C3DC-4A17-8264-EF17021BD3D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8318" y="987403"/>
            <a:ext cx="9574510" cy="281103"/>
          </a:xfrm>
        </p:spPr>
        <p:txBody>
          <a:bodyPr anchor="ctr">
            <a:normAutofit/>
          </a:bodyPr>
          <a:lstStyle>
            <a:lvl1pPr>
              <a:defRPr sz="1800">
                <a:solidFill>
                  <a:srgbClr val="041E4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3"/>
              </a:buClr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noProof="0" dirty="0"/>
              <a:t>[</a:t>
            </a:r>
            <a:r>
              <a:rPr lang="de-DE" noProof="0" dirty="0" err="1"/>
              <a:t>Subtitle</a:t>
            </a:r>
            <a:r>
              <a:rPr lang="de-DE" noProof="0" dirty="0"/>
              <a:t>]: Zusammenfassung in Stichwörtern, keine Sätze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ECFAE3CB-72CD-47F3-AC56-7CDAC235E1DB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4312780" y="1631156"/>
            <a:ext cx="3568821" cy="4569619"/>
          </a:xfrm>
        </p:spPr>
        <p:txBody>
          <a:bodyPr>
            <a:noAutofit/>
          </a:bodyPr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8BE42DCF-5B3A-4B71-B7EB-B7136921856F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8107241" y="1631156"/>
            <a:ext cx="3568821" cy="4569619"/>
          </a:xfrm>
        </p:spPr>
        <p:txBody>
          <a:bodyPr>
            <a:no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72267461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A5AFDFCF-0983-4270-80C9-4D41CBE0254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7"/>
            </p:custDataLst>
            <p:extLst>
              <p:ext uri="{D42A27DB-BD31-4B8C-83A1-F6EECF244321}">
                <p14:modId xmlns:p14="http://schemas.microsoft.com/office/powerpoint/2010/main" val="10506061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28" imgW="310" imgH="312" progId="TCLayout.ActiveDocument.1">
                  <p:embed/>
                </p:oleObj>
              </mc:Choice>
              <mc:Fallback>
                <p:oleObj name="think-cell Folie" r:id="rId28" imgW="310" imgH="312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A5AFDFCF-0983-4270-80C9-4D41CBE0254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63999BA3-562C-4E45-8F3B-A023F450BC2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8318" y="301183"/>
            <a:ext cx="9574509" cy="666000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/>
          <a:p>
            <a:r>
              <a:rPr lang="de-DE" dirty="0"/>
              <a:t>Mastertitelformat </a:t>
            </a:r>
            <a:br>
              <a:rPr lang="de-DE" dirty="0"/>
            </a:br>
            <a:r>
              <a:rPr lang="de-DE" dirty="0"/>
              <a:t>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DA1581D5-332D-4C8E-AF45-43F518A6E57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18319" y="1631156"/>
            <a:ext cx="11157744" cy="4569619"/>
          </a:xfrm>
          <a:prstGeom prst="rect">
            <a:avLst/>
          </a:prstGeom>
        </p:spPr>
        <p:txBody>
          <a:bodyPr vert="horz" lIns="0" tIns="0" rIns="360000" bIns="0" rtlCol="0" anchor="t" anchorCtr="0">
            <a:normAutofit/>
          </a:bodyPr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DDD440FC-859D-4521-8908-A802F3E5350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417351" y="6634666"/>
            <a:ext cx="849593" cy="123111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B4AF76AE-F8CA-4CAE-8890-6E3DCFB786A6}" type="datetime4">
              <a:rPr lang="de-DE" smtClean="0"/>
              <a:t>19. Dezember 2022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588C6C66-9703-4B53-BAF2-1F89587F3CF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18319" y="6634666"/>
            <a:ext cx="9574509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de-DE"/>
              <a:t>… | Lehrstuhl für Digital Industrial Service Systems | &lt;Name des Dozenten&gt;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2C2FAB54-E254-4FCB-BB98-1E4D5A6D0B5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82099" y="6634666"/>
            <a:ext cx="193964" cy="123111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D949F9DF-37BD-4CD6-BF49-65BA579E1D7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639EA0DE-CCA1-4795-BE19-74C50E90E6A6}"/>
              </a:ext>
            </a:extLst>
          </p:cNvPr>
          <p:cNvSpPr/>
          <p:nvPr userDrawn="1"/>
        </p:nvSpPr>
        <p:spPr>
          <a:xfrm>
            <a:off x="518400" y="1413835"/>
            <a:ext cx="11676062" cy="72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F10272FF-60F7-4AF4-9CD6-0A04080EA9B4}"/>
              </a:ext>
            </a:extLst>
          </p:cNvPr>
          <p:cNvSpPr/>
          <p:nvPr userDrawn="1"/>
        </p:nvSpPr>
        <p:spPr>
          <a:xfrm>
            <a:off x="517200" y="6538526"/>
            <a:ext cx="11674800" cy="108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4" name="Freihandform: Form 53">
            <a:extLst>
              <a:ext uri="{FF2B5EF4-FFF2-40B4-BE49-F238E27FC236}">
                <a16:creationId xmlns:a16="http://schemas.microsoft.com/office/drawing/2014/main" id="{7C2D4B7A-C06A-4E74-AFA2-1F145A18ADE3}"/>
              </a:ext>
            </a:extLst>
          </p:cNvPr>
          <p:cNvSpPr>
            <a:spLocks noChangeAspect="1"/>
          </p:cNvSpPr>
          <p:nvPr userDrawn="1"/>
        </p:nvSpPr>
        <p:spPr>
          <a:xfrm>
            <a:off x="10596063" y="299346"/>
            <a:ext cx="1080000" cy="412328"/>
          </a:xfrm>
          <a:custGeom>
            <a:avLst/>
            <a:gdLst>
              <a:gd name="connsiteX0" fmla="*/ 0 w 4797018"/>
              <a:gd name="connsiteY0" fmla="*/ 170736 h 1831428"/>
              <a:gd name="connsiteX1" fmla="*/ 92812 w 4797018"/>
              <a:gd name="connsiteY1" fmla="*/ 77924 h 1831428"/>
              <a:gd name="connsiteX2" fmla="*/ 92812 w 4797018"/>
              <a:gd name="connsiteY2" fmla="*/ 1763373 h 1831428"/>
              <a:gd name="connsiteX3" fmla="*/ 0 w 4797018"/>
              <a:gd name="connsiteY3" fmla="*/ 1763373 h 1831428"/>
              <a:gd name="connsiteX4" fmla="*/ 0 w 4797018"/>
              <a:gd name="connsiteY4" fmla="*/ 170736 h 1831428"/>
              <a:gd name="connsiteX5" fmla="*/ 278425 w 4797018"/>
              <a:gd name="connsiteY5" fmla="*/ 92812 h 1831428"/>
              <a:gd name="connsiteX6" fmla="*/ 1392136 w 4797018"/>
              <a:gd name="connsiteY6" fmla="*/ 92812 h 1831428"/>
              <a:gd name="connsiteX7" fmla="*/ 1392136 w 4797018"/>
              <a:gd name="connsiteY7" fmla="*/ 0 h 1831428"/>
              <a:gd name="connsiteX8" fmla="*/ 185614 w 4797018"/>
              <a:gd name="connsiteY8" fmla="*/ 0 h 1831428"/>
              <a:gd name="connsiteX9" fmla="*/ 185614 w 4797018"/>
              <a:gd name="connsiteY9" fmla="*/ 1113701 h 1831428"/>
              <a:gd name="connsiteX10" fmla="*/ 1210723 w 4797018"/>
              <a:gd name="connsiteY10" fmla="*/ 1113701 h 1831428"/>
              <a:gd name="connsiteX11" fmla="*/ 1210723 w 4797018"/>
              <a:gd name="connsiteY11" fmla="*/ 1020899 h 1831428"/>
              <a:gd name="connsiteX12" fmla="*/ 278425 w 4797018"/>
              <a:gd name="connsiteY12" fmla="*/ 1020899 h 1831428"/>
              <a:gd name="connsiteX13" fmla="*/ 278425 w 4797018"/>
              <a:gd name="connsiteY13" fmla="*/ 92812 h 1831428"/>
              <a:gd name="connsiteX14" fmla="*/ 1350464 w 4797018"/>
              <a:gd name="connsiteY14" fmla="*/ 835285 h 1831428"/>
              <a:gd name="connsiteX15" fmla="*/ 464048 w 4797018"/>
              <a:gd name="connsiteY15" fmla="*/ 835285 h 1831428"/>
              <a:gd name="connsiteX16" fmla="*/ 464048 w 4797018"/>
              <a:gd name="connsiteY16" fmla="*/ 464048 h 1831428"/>
              <a:gd name="connsiteX17" fmla="*/ 1222124 w 4797018"/>
              <a:gd name="connsiteY17" fmla="*/ 464048 h 1831428"/>
              <a:gd name="connsiteX18" fmla="*/ 1314926 w 4797018"/>
              <a:gd name="connsiteY18" fmla="*/ 371237 h 1831428"/>
              <a:gd name="connsiteX19" fmla="*/ 464048 w 4797018"/>
              <a:gd name="connsiteY19" fmla="*/ 371237 h 1831428"/>
              <a:gd name="connsiteX20" fmla="*/ 464048 w 4797018"/>
              <a:gd name="connsiteY20" fmla="*/ 278425 h 1831428"/>
              <a:gd name="connsiteX21" fmla="*/ 1392146 w 4797018"/>
              <a:gd name="connsiteY21" fmla="*/ 278425 h 1831428"/>
              <a:gd name="connsiteX22" fmla="*/ 1392146 w 4797018"/>
              <a:gd name="connsiteY22" fmla="*/ 185614 h 1831428"/>
              <a:gd name="connsiteX23" fmla="*/ 371237 w 4797018"/>
              <a:gd name="connsiteY23" fmla="*/ 185614 h 1831428"/>
              <a:gd name="connsiteX24" fmla="*/ 371237 w 4797018"/>
              <a:gd name="connsiteY24" fmla="*/ 928087 h 1831428"/>
              <a:gd name="connsiteX25" fmla="*/ 1258872 w 4797018"/>
              <a:gd name="connsiteY25" fmla="*/ 928087 h 1831428"/>
              <a:gd name="connsiteX26" fmla="*/ 1350464 w 4797018"/>
              <a:gd name="connsiteY26" fmla="*/ 835285 h 1831428"/>
              <a:gd name="connsiteX27" fmla="*/ 185614 w 4797018"/>
              <a:gd name="connsiteY27" fmla="*/ 1763373 h 1831428"/>
              <a:gd name="connsiteX28" fmla="*/ 278425 w 4797018"/>
              <a:gd name="connsiteY28" fmla="*/ 1763373 h 1831428"/>
              <a:gd name="connsiteX29" fmla="*/ 278425 w 4797018"/>
              <a:gd name="connsiteY29" fmla="*/ 1299324 h 1831428"/>
              <a:gd name="connsiteX30" fmla="*/ 371237 w 4797018"/>
              <a:gd name="connsiteY30" fmla="*/ 1299324 h 1831428"/>
              <a:gd name="connsiteX31" fmla="*/ 371237 w 4797018"/>
              <a:gd name="connsiteY31" fmla="*/ 1685449 h 1831428"/>
              <a:gd name="connsiteX32" fmla="*/ 464039 w 4797018"/>
              <a:gd name="connsiteY32" fmla="*/ 1592647 h 1831428"/>
              <a:gd name="connsiteX33" fmla="*/ 464039 w 4797018"/>
              <a:gd name="connsiteY33" fmla="*/ 1299324 h 1831428"/>
              <a:gd name="connsiteX34" fmla="*/ 1210723 w 4797018"/>
              <a:gd name="connsiteY34" fmla="*/ 1299324 h 1831428"/>
              <a:gd name="connsiteX35" fmla="*/ 1210723 w 4797018"/>
              <a:gd name="connsiteY35" fmla="*/ 1206522 h 1831428"/>
              <a:gd name="connsiteX36" fmla="*/ 185614 w 4797018"/>
              <a:gd name="connsiteY36" fmla="*/ 1206522 h 1831428"/>
              <a:gd name="connsiteX37" fmla="*/ 185614 w 4797018"/>
              <a:gd name="connsiteY37" fmla="*/ 1763373 h 1831428"/>
              <a:gd name="connsiteX38" fmla="*/ 4704207 w 4797018"/>
              <a:gd name="connsiteY38" fmla="*/ 0 h 1831428"/>
              <a:gd name="connsiteX39" fmla="*/ 4704207 w 4797018"/>
              <a:gd name="connsiteY39" fmla="*/ 1067314 h 1831428"/>
              <a:gd name="connsiteX40" fmla="*/ 4334837 w 4797018"/>
              <a:gd name="connsiteY40" fmla="*/ 1692688 h 1831428"/>
              <a:gd name="connsiteX41" fmla="*/ 4332742 w 4797018"/>
              <a:gd name="connsiteY41" fmla="*/ 1689954 h 1831428"/>
              <a:gd name="connsiteX42" fmla="*/ 4611405 w 4797018"/>
              <a:gd name="connsiteY42" fmla="*/ 1158564 h 1831428"/>
              <a:gd name="connsiteX43" fmla="*/ 4611405 w 4797018"/>
              <a:gd name="connsiteY43" fmla="*/ 0 h 1831428"/>
              <a:gd name="connsiteX44" fmla="*/ 4518594 w 4797018"/>
              <a:gd name="connsiteY44" fmla="*/ 0 h 1831428"/>
              <a:gd name="connsiteX45" fmla="*/ 4518594 w 4797018"/>
              <a:gd name="connsiteY45" fmla="*/ 1157021 h 1831428"/>
              <a:gd name="connsiteX46" fmla="*/ 3915337 w 4797018"/>
              <a:gd name="connsiteY46" fmla="*/ 1740170 h 1831428"/>
              <a:gd name="connsiteX47" fmla="*/ 3312081 w 4797018"/>
              <a:gd name="connsiteY47" fmla="*/ 1157021 h 1831428"/>
              <a:gd name="connsiteX48" fmla="*/ 3312081 w 4797018"/>
              <a:gd name="connsiteY48" fmla="*/ 77924 h 1831428"/>
              <a:gd name="connsiteX49" fmla="*/ 3219269 w 4797018"/>
              <a:gd name="connsiteY49" fmla="*/ 170736 h 1831428"/>
              <a:gd name="connsiteX50" fmla="*/ 3219269 w 4797018"/>
              <a:gd name="connsiteY50" fmla="*/ 1158564 h 1831428"/>
              <a:gd name="connsiteX51" fmla="*/ 3915337 w 4797018"/>
              <a:gd name="connsiteY51" fmla="*/ 1831429 h 1831428"/>
              <a:gd name="connsiteX52" fmla="*/ 4008139 w 4797018"/>
              <a:gd name="connsiteY52" fmla="*/ 1831429 h 1831428"/>
              <a:gd name="connsiteX53" fmla="*/ 4797019 w 4797018"/>
              <a:gd name="connsiteY53" fmla="*/ 1068667 h 1831428"/>
              <a:gd name="connsiteX54" fmla="*/ 4797019 w 4797018"/>
              <a:gd name="connsiteY54" fmla="*/ 0 h 1831428"/>
              <a:gd name="connsiteX55" fmla="*/ 4704207 w 4797018"/>
              <a:gd name="connsiteY55" fmla="*/ 0 h 1831428"/>
              <a:gd name="connsiteX56" fmla="*/ 3915328 w 4797018"/>
              <a:gd name="connsiteY56" fmla="*/ 1647358 h 1831428"/>
              <a:gd name="connsiteX57" fmla="*/ 4425773 w 4797018"/>
              <a:gd name="connsiteY57" fmla="*/ 1157021 h 1831428"/>
              <a:gd name="connsiteX58" fmla="*/ 4425782 w 4797018"/>
              <a:gd name="connsiteY58" fmla="*/ 1157021 h 1831428"/>
              <a:gd name="connsiteX59" fmla="*/ 4425782 w 4797018"/>
              <a:gd name="connsiteY59" fmla="*/ 77924 h 1831428"/>
              <a:gd name="connsiteX60" fmla="*/ 4332970 w 4797018"/>
              <a:gd name="connsiteY60" fmla="*/ 170736 h 1831428"/>
              <a:gd name="connsiteX61" fmla="*/ 4332970 w 4797018"/>
              <a:gd name="connsiteY61" fmla="*/ 1067305 h 1831428"/>
              <a:gd name="connsiteX62" fmla="*/ 4008130 w 4797018"/>
              <a:gd name="connsiteY62" fmla="*/ 1368933 h 1831428"/>
              <a:gd name="connsiteX63" fmla="*/ 3683298 w 4797018"/>
              <a:gd name="connsiteY63" fmla="*/ 1067305 h 1831428"/>
              <a:gd name="connsiteX64" fmla="*/ 3683289 w 4797018"/>
              <a:gd name="connsiteY64" fmla="*/ 0 h 1831428"/>
              <a:gd name="connsiteX65" fmla="*/ 3590487 w 4797018"/>
              <a:gd name="connsiteY65" fmla="*/ 0 h 1831428"/>
              <a:gd name="connsiteX66" fmla="*/ 3590487 w 4797018"/>
              <a:gd name="connsiteY66" fmla="*/ 1067305 h 1831428"/>
              <a:gd name="connsiteX67" fmla="*/ 4008130 w 4797018"/>
              <a:gd name="connsiteY67" fmla="*/ 1461745 h 1831428"/>
              <a:gd name="connsiteX68" fmla="*/ 4294699 w 4797018"/>
              <a:gd name="connsiteY68" fmla="*/ 1333129 h 1831428"/>
              <a:gd name="connsiteX69" fmla="*/ 4296785 w 4797018"/>
              <a:gd name="connsiteY69" fmla="*/ 1335862 h 1831428"/>
              <a:gd name="connsiteX70" fmla="*/ 3915328 w 4797018"/>
              <a:gd name="connsiteY70" fmla="*/ 1554556 h 1831428"/>
              <a:gd name="connsiteX71" fmla="*/ 3497742 w 4797018"/>
              <a:gd name="connsiteY71" fmla="*/ 1160116 h 1831428"/>
              <a:gd name="connsiteX72" fmla="*/ 3497685 w 4797018"/>
              <a:gd name="connsiteY72" fmla="*/ 1160116 h 1831428"/>
              <a:gd name="connsiteX73" fmla="*/ 3497685 w 4797018"/>
              <a:gd name="connsiteY73" fmla="*/ 0 h 1831428"/>
              <a:gd name="connsiteX74" fmla="*/ 3404873 w 4797018"/>
              <a:gd name="connsiteY74" fmla="*/ 0 h 1831428"/>
              <a:gd name="connsiteX75" fmla="*/ 3404873 w 4797018"/>
              <a:gd name="connsiteY75" fmla="*/ 1160107 h 1831428"/>
              <a:gd name="connsiteX76" fmla="*/ 3404921 w 4797018"/>
              <a:gd name="connsiteY76" fmla="*/ 1160107 h 1831428"/>
              <a:gd name="connsiteX77" fmla="*/ 3915328 w 4797018"/>
              <a:gd name="connsiteY77" fmla="*/ 1647358 h 1831428"/>
              <a:gd name="connsiteX78" fmla="*/ 1852984 w 4797018"/>
              <a:gd name="connsiteY78" fmla="*/ 1206522 h 1831428"/>
              <a:gd name="connsiteX79" fmla="*/ 1618288 w 4797018"/>
              <a:gd name="connsiteY79" fmla="*/ 1763373 h 1831428"/>
              <a:gd name="connsiteX80" fmla="*/ 1711119 w 4797018"/>
              <a:gd name="connsiteY80" fmla="*/ 1763363 h 1831428"/>
              <a:gd name="connsiteX81" fmla="*/ 1711100 w 4797018"/>
              <a:gd name="connsiteY81" fmla="*/ 1763373 h 1831428"/>
              <a:gd name="connsiteX82" fmla="*/ 1711119 w 4797018"/>
              <a:gd name="connsiteY82" fmla="*/ 1763373 h 1831428"/>
              <a:gd name="connsiteX83" fmla="*/ 1828448 w 4797018"/>
              <a:gd name="connsiteY83" fmla="*/ 1484948 h 1831428"/>
              <a:gd name="connsiteX84" fmla="*/ 2614774 w 4797018"/>
              <a:gd name="connsiteY84" fmla="*/ 1484948 h 1831428"/>
              <a:gd name="connsiteX85" fmla="*/ 2732018 w 4797018"/>
              <a:gd name="connsiteY85" fmla="*/ 1763373 h 1831428"/>
              <a:gd name="connsiteX86" fmla="*/ 2824820 w 4797018"/>
              <a:gd name="connsiteY86" fmla="*/ 1763373 h 1831428"/>
              <a:gd name="connsiteX87" fmla="*/ 2668515 w 4797018"/>
              <a:gd name="connsiteY87" fmla="*/ 1392136 h 1831428"/>
              <a:gd name="connsiteX88" fmla="*/ 1867567 w 4797018"/>
              <a:gd name="connsiteY88" fmla="*/ 1392136 h 1831428"/>
              <a:gd name="connsiteX89" fmla="*/ 1906676 w 4797018"/>
              <a:gd name="connsiteY89" fmla="*/ 1299324 h 1831428"/>
              <a:gd name="connsiteX90" fmla="*/ 2722236 w 4797018"/>
              <a:gd name="connsiteY90" fmla="*/ 1299324 h 1831428"/>
              <a:gd name="connsiteX91" fmla="*/ 2917632 w 4797018"/>
              <a:gd name="connsiteY91" fmla="*/ 1763373 h 1831428"/>
              <a:gd name="connsiteX92" fmla="*/ 3010443 w 4797018"/>
              <a:gd name="connsiteY92" fmla="*/ 1763373 h 1831428"/>
              <a:gd name="connsiteX93" fmla="*/ 2775976 w 4797018"/>
              <a:gd name="connsiteY93" fmla="*/ 1206522 h 1831428"/>
              <a:gd name="connsiteX94" fmla="*/ 1852984 w 4797018"/>
              <a:gd name="connsiteY94" fmla="*/ 1206522 h 1831428"/>
              <a:gd name="connsiteX95" fmla="*/ 1989544 w 4797018"/>
              <a:gd name="connsiteY95" fmla="*/ 0 h 1831428"/>
              <a:gd name="connsiteX96" fmla="*/ 1307459 w 4797018"/>
              <a:gd name="connsiteY96" fmla="*/ 1617898 h 1831428"/>
              <a:gd name="connsiteX97" fmla="*/ 1366533 w 4797018"/>
              <a:gd name="connsiteY97" fmla="*/ 1698098 h 1831428"/>
              <a:gd name="connsiteX98" fmla="*/ 2082356 w 4797018"/>
              <a:gd name="connsiteY98" fmla="*/ 0 h 1831428"/>
              <a:gd name="connsiteX99" fmla="*/ 1989544 w 4797018"/>
              <a:gd name="connsiteY99" fmla="*/ 0 h 1831428"/>
              <a:gd name="connsiteX100" fmla="*/ 2360771 w 4797018"/>
              <a:gd name="connsiteY100" fmla="*/ 0 h 1831428"/>
              <a:gd name="connsiteX101" fmla="*/ 3075708 w 4797018"/>
              <a:gd name="connsiteY101" fmla="*/ 1698098 h 1831428"/>
              <a:gd name="connsiteX102" fmla="*/ 3134639 w 4797018"/>
              <a:gd name="connsiteY102" fmla="*/ 1617898 h 1831428"/>
              <a:gd name="connsiteX103" fmla="*/ 2453592 w 4797018"/>
              <a:gd name="connsiteY103" fmla="*/ 0 h 1831428"/>
              <a:gd name="connsiteX104" fmla="*/ 2360771 w 4797018"/>
              <a:gd name="connsiteY104" fmla="*/ 0 h 1831428"/>
              <a:gd name="connsiteX105" fmla="*/ 1799101 w 4797018"/>
              <a:gd name="connsiteY105" fmla="*/ 1113711 h 1831428"/>
              <a:gd name="connsiteX106" fmla="*/ 1524610 w 4797018"/>
              <a:gd name="connsiteY106" fmla="*/ 1763373 h 1831428"/>
              <a:gd name="connsiteX107" fmla="*/ 1431798 w 4797018"/>
              <a:gd name="connsiteY107" fmla="*/ 1763373 h 1831428"/>
              <a:gd name="connsiteX108" fmla="*/ 2128761 w 4797018"/>
              <a:gd name="connsiteY108" fmla="*/ 110195 h 1831428"/>
              <a:gd name="connsiteX109" fmla="*/ 2512219 w 4797018"/>
              <a:gd name="connsiteY109" fmla="*/ 1020899 h 1831428"/>
              <a:gd name="connsiteX110" fmla="*/ 2605021 w 4797018"/>
              <a:gd name="connsiteY110" fmla="*/ 1020899 h 1831428"/>
              <a:gd name="connsiteX111" fmla="*/ 2175158 w 4797018"/>
              <a:gd name="connsiteY111" fmla="*/ 0 h 1831428"/>
              <a:gd name="connsiteX112" fmla="*/ 2267969 w 4797018"/>
              <a:gd name="connsiteY112" fmla="*/ 0 h 1831428"/>
              <a:gd name="connsiteX113" fmla="*/ 2736895 w 4797018"/>
              <a:gd name="connsiteY113" fmla="*/ 1113701 h 1831428"/>
              <a:gd name="connsiteX114" fmla="*/ 1799101 w 4797018"/>
              <a:gd name="connsiteY114" fmla="*/ 1113701 h 1831428"/>
              <a:gd name="connsiteX115" fmla="*/ 2221802 w 4797018"/>
              <a:gd name="connsiteY115" fmla="*/ 551602 h 1831428"/>
              <a:gd name="connsiteX116" fmla="*/ 2024015 w 4797018"/>
              <a:gd name="connsiteY116" fmla="*/ 1020899 h 1831428"/>
              <a:gd name="connsiteX117" fmla="*/ 2419398 w 4797018"/>
              <a:gd name="connsiteY117" fmla="*/ 1020899 h 1831428"/>
              <a:gd name="connsiteX118" fmla="*/ 2221802 w 4797018"/>
              <a:gd name="connsiteY118" fmla="*/ 551602 h 1831428"/>
              <a:gd name="connsiteX119" fmla="*/ 1838163 w 4797018"/>
              <a:gd name="connsiteY119" fmla="*/ 1020899 h 1831428"/>
              <a:gd name="connsiteX120" fmla="*/ 1931213 w 4797018"/>
              <a:gd name="connsiteY120" fmla="*/ 1020899 h 1831428"/>
              <a:gd name="connsiteX121" fmla="*/ 2175415 w 4797018"/>
              <a:gd name="connsiteY121" fmla="*/ 441436 h 1831428"/>
              <a:gd name="connsiteX122" fmla="*/ 2128942 w 4797018"/>
              <a:gd name="connsiteY122" fmla="*/ 331070 h 1831428"/>
              <a:gd name="connsiteX123" fmla="*/ 1838163 w 4797018"/>
              <a:gd name="connsiteY123" fmla="*/ 1020899 h 18314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</a:cxnLst>
            <a:rect l="l" t="t" r="r" b="b"/>
            <a:pathLst>
              <a:path w="4797018" h="1831428">
                <a:moveTo>
                  <a:pt x="0" y="170736"/>
                </a:moveTo>
                <a:lnTo>
                  <a:pt x="92812" y="77924"/>
                </a:lnTo>
                <a:lnTo>
                  <a:pt x="92812" y="1763373"/>
                </a:lnTo>
                <a:lnTo>
                  <a:pt x="0" y="1763373"/>
                </a:lnTo>
                <a:lnTo>
                  <a:pt x="0" y="170736"/>
                </a:lnTo>
                <a:close/>
                <a:moveTo>
                  <a:pt x="278425" y="92812"/>
                </a:moveTo>
                <a:lnTo>
                  <a:pt x="1392136" y="92812"/>
                </a:lnTo>
                <a:lnTo>
                  <a:pt x="1392136" y="0"/>
                </a:lnTo>
                <a:lnTo>
                  <a:pt x="185614" y="0"/>
                </a:lnTo>
                <a:lnTo>
                  <a:pt x="185614" y="1113701"/>
                </a:lnTo>
                <a:lnTo>
                  <a:pt x="1210723" y="1113701"/>
                </a:lnTo>
                <a:lnTo>
                  <a:pt x="1210723" y="1020899"/>
                </a:lnTo>
                <a:lnTo>
                  <a:pt x="278425" y="1020899"/>
                </a:lnTo>
                <a:lnTo>
                  <a:pt x="278425" y="92812"/>
                </a:lnTo>
                <a:close/>
                <a:moveTo>
                  <a:pt x="1350464" y="835285"/>
                </a:moveTo>
                <a:lnTo>
                  <a:pt x="464048" y="835285"/>
                </a:lnTo>
                <a:lnTo>
                  <a:pt x="464048" y="464048"/>
                </a:lnTo>
                <a:lnTo>
                  <a:pt x="1222124" y="464048"/>
                </a:lnTo>
                <a:lnTo>
                  <a:pt x="1314926" y="371237"/>
                </a:lnTo>
                <a:lnTo>
                  <a:pt x="464048" y="371237"/>
                </a:lnTo>
                <a:lnTo>
                  <a:pt x="464048" y="278425"/>
                </a:lnTo>
                <a:lnTo>
                  <a:pt x="1392146" y="278425"/>
                </a:lnTo>
                <a:lnTo>
                  <a:pt x="1392146" y="185614"/>
                </a:lnTo>
                <a:lnTo>
                  <a:pt x="371237" y="185614"/>
                </a:lnTo>
                <a:lnTo>
                  <a:pt x="371237" y="928087"/>
                </a:lnTo>
                <a:lnTo>
                  <a:pt x="1258872" y="928087"/>
                </a:lnTo>
                <a:lnTo>
                  <a:pt x="1350464" y="835285"/>
                </a:lnTo>
                <a:close/>
                <a:moveTo>
                  <a:pt x="185614" y="1763373"/>
                </a:moveTo>
                <a:lnTo>
                  <a:pt x="278425" y="1763373"/>
                </a:lnTo>
                <a:lnTo>
                  <a:pt x="278425" y="1299324"/>
                </a:lnTo>
                <a:lnTo>
                  <a:pt x="371237" y="1299324"/>
                </a:lnTo>
                <a:lnTo>
                  <a:pt x="371237" y="1685449"/>
                </a:lnTo>
                <a:lnTo>
                  <a:pt x="464039" y="1592647"/>
                </a:lnTo>
                <a:lnTo>
                  <a:pt x="464039" y="1299324"/>
                </a:lnTo>
                <a:lnTo>
                  <a:pt x="1210723" y="1299324"/>
                </a:lnTo>
                <a:lnTo>
                  <a:pt x="1210723" y="1206522"/>
                </a:lnTo>
                <a:lnTo>
                  <a:pt x="185614" y="1206522"/>
                </a:lnTo>
                <a:lnTo>
                  <a:pt x="185614" y="1763373"/>
                </a:lnTo>
                <a:close/>
                <a:moveTo>
                  <a:pt x="4704207" y="0"/>
                </a:moveTo>
                <a:lnTo>
                  <a:pt x="4704207" y="1067314"/>
                </a:lnTo>
                <a:cubicBezTo>
                  <a:pt x="4704207" y="1315669"/>
                  <a:pt x="4593393" y="1529039"/>
                  <a:pt x="4334837" y="1692688"/>
                </a:cubicBezTo>
                <a:lnTo>
                  <a:pt x="4332742" y="1689954"/>
                </a:lnTo>
                <a:cubicBezTo>
                  <a:pt x="4502639" y="1555213"/>
                  <a:pt x="4611405" y="1382144"/>
                  <a:pt x="4611405" y="1158564"/>
                </a:cubicBezTo>
                <a:lnTo>
                  <a:pt x="4611405" y="0"/>
                </a:lnTo>
                <a:lnTo>
                  <a:pt x="4518594" y="0"/>
                </a:lnTo>
                <a:lnTo>
                  <a:pt x="4518594" y="1157021"/>
                </a:lnTo>
                <a:cubicBezTo>
                  <a:pt x="4518594" y="1490196"/>
                  <a:pt x="4248512" y="1740170"/>
                  <a:pt x="3915337" y="1740170"/>
                </a:cubicBezTo>
                <a:cubicBezTo>
                  <a:pt x="3582162" y="1740170"/>
                  <a:pt x="3312081" y="1490186"/>
                  <a:pt x="3312081" y="1157021"/>
                </a:cubicBezTo>
                <a:lnTo>
                  <a:pt x="3312081" y="77924"/>
                </a:lnTo>
                <a:lnTo>
                  <a:pt x="3219269" y="170736"/>
                </a:lnTo>
                <a:lnTo>
                  <a:pt x="3219269" y="1158564"/>
                </a:lnTo>
                <a:cubicBezTo>
                  <a:pt x="3219269" y="1542993"/>
                  <a:pt x="3530908" y="1831429"/>
                  <a:pt x="3915337" y="1831429"/>
                </a:cubicBezTo>
                <a:cubicBezTo>
                  <a:pt x="3924233" y="1831429"/>
                  <a:pt x="4008139" y="1831429"/>
                  <a:pt x="4008139" y="1831429"/>
                </a:cubicBezTo>
                <a:cubicBezTo>
                  <a:pt x="4386691" y="1831429"/>
                  <a:pt x="4797019" y="1551870"/>
                  <a:pt x="4797019" y="1068667"/>
                </a:cubicBezTo>
                <a:cubicBezTo>
                  <a:pt x="4797019" y="1068210"/>
                  <a:pt x="4797019" y="0"/>
                  <a:pt x="4797019" y="0"/>
                </a:cubicBezTo>
                <a:lnTo>
                  <a:pt x="4704207" y="0"/>
                </a:lnTo>
                <a:close/>
                <a:moveTo>
                  <a:pt x="3915328" y="1647358"/>
                </a:moveTo>
                <a:cubicBezTo>
                  <a:pt x="4197077" y="1647358"/>
                  <a:pt x="4425515" y="1438694"/>
                  <a:pt x="4425773" y="1157021"/>
                </a:cubicBezTo>
                <a:lnTo>
                  <a:pt x="4425782" y="1157021"/>
                </a:lnTo>
                <a:lnTo>
                  <a:pt x="4425782" y="77924"/>
                </a:lnTo>
                <a:lnTo>
                  <a:pt x="4332970" y="170736"/>
                </a:lnTo>
                <a:lnTo>
                  <a:pt x="4332970" y="1067305"/>
                </a:lnTo>
                <a:cubicBezTo>
                  <a:pt x="4332970" y="1246699"/>
                  <a:pt x="4187533" y="1368933"/>
                  <a:pt x="4008130" y="1368933"/>
                </a:cubicBezTo>
                <a:cubicBezTo>
                  <a:pt x="3828736" y="1368933"/>
                  <a:pt x="3683298" y="1246699"/>
                  <a:pt x="3683298" y="1067305"/>
                </a:cubicBezTo>
                <a:lnTo>
                  <a:pt x="3683289" y="0"/>
                </a:lnTo>
                <a:lnTo>
                  <a:pt x="3590487" y="0"/>
                </a:lnTo>
                <a:lnTo>
                  <a:pt x="3590487" y="1067305"/>
                </a:lnTo>
                <a:cubicBezTo>
                  <a:pt x="3590487" y="1297962"/>
                  <a:pt x="3777472" y="1461745"/>
                  <a:pt x="4008130" y="1461745"/>
                </a:cubicBezTo>
                <a:cubicBezTo>
                  <a:pt x="4102446" y="1461745"/>
                  <a:pt x="4216937" y="1415148"/>
                  <a:pt x="4294699" y="1333129"/>
                </a:cubicBezTo>
                <a:lnTo>
                  <a:pt x="4296785" y="1335862"/>
                </a:lnTo>
                <a:cubicBezTo>
                  <a:pt x="4223881" y="1471070"/>
                  <a:pt x="4089102" y="1554556"/>
                  <a:pt x="3915328" y="1554556"/>
                </a:cubicBezTo>
                <a:cubicBezTo>
                  <a:pt x="3686090" y="1554556"/>
                  <a:pt x="3500009" y="1388593"/>
                  <a:pt x="3497742" y="1160116"/>
                </a:cubicBezTo>
                <a:lnTo>
                  <a:pt x="3497685" y="1160116"/>
                </a:lnTo>
                <a:lnTo>
                  <a:pt x="3497685" y="0"/>
                </a:lnTo>
                <a:lnTo>
                  <a:pt x="3404873" y="0"/>
                </a:lnTo>
                <a:lnTo>
                  <a:pt x="3404873" y="1160107"/>
                </a:lnTo>
                <a:lnTo>
                  <a:pt x="3404921" y="1160107"/>
                </a:lnTo>
                <a:cubicBezTo>
                  <a:pt x="3406855" y="1440218"/>
                  <a:pt x="3634616" y="1647358"/>
                  <a:pt x="3915328" y="1647358"/>
                </a:cubicBezTo>
                <a:close/>
                <a:moveTo>
                  <a:pt x="1852984" y="1206522"/>
                </a:moveTo>
                <a:lnTo>
                  <a:pt x="1618288" y="1763373"/>
                </a:lnTo>
                <a:lnTo>
                  <a:pt x="1711119" y="1763363"/>
                </a:lnTo>
                <a:lnTo>
                  <a:pt x="1711100" y="1763373"/>
                </a:lnTo>
                <a:lnTo>
                  <a:pt x="1711119" y="1763373"/>
                </a:lnTo>
                <a:lnTo>
                  <a:pt x="1828448" y="1484948"/>
                </a:lnTo>
                <a:lnTo>
                  <a:pt x="2614774" y="1484948"/>
                </a:lnTo>
                <a:lnTo>
                  <a:pt x="2732018" y="1763373"/>
                </a:lnTo>
                <a:lnTo>
                  <a:pt x="2824820" y="1763373"/>
                </a:lnTo>
                <a:lnTo>
                  <a:pt x="2668515" y="1392136"/>
                </a:lnTo>
                <a:lnTo>
                  <a:pt x="1867567" y="1392136"/>
                </a:lnTo>
                <a:lnTo>
                  <a:pt x="1906676" y="1299324"/>
                </a:lnTo>
                <a:lnTo>
                  <a:pt x="2722236" y="1299324"/>
                </a:lnTo>
                <a:lnTo>
                  <a:pt x="2917632" y="1763373"/>
                </a:lnTo>
                <a:lnTo>
                  <a:pt x="3010443" y="1763373"/>
                </a:lnTo>
                <a:lnTo>
                  <a:pt x="2775976" y="1206522"/>
                </a:lnTo>
                <a:lnTo>
                  <a:pt x="1852984" y="1206522"/>
                </a:lnTo>
                <a:close/>
                <a:moveTo>
                  <a:pt x="1989544" y="0"/>
                </a:moveTo>
                <a:lnTo>
                  <a:pt x="1307459" y="1617898"/>
                </a:lnTo>
                <a:lnTo>
                  <a:pt x="1366533" y="1698098"/>
                </a:lnTo>
                <a:lnTo>
                  <a:pt x="2082356" y="0"/>
                </a:lnTo>
                <a:lnTo>
                  <a:pt x="1989544" y="0"/>
                </a:lnTo>
                <a:close/>
                <a:moveTo>
                  <a:pt x="2360771" y="0"/>
                </a:moveTo>
                <a:lnTo>
                  <a:pt x="3075708" y="1698098"/>
                </a:lnTo>
                <a:lnTo>
                  <a:pt x="3134639" y="1617898"/>
                </a:lnTo>
                <a:lnTo>
                  <a:pt x="2453592" y="0"/>
                </a:lnTo>
                <a:lnTo>
                  <a:pt x="2360771" y="0"/>
                </a:lnTo>
                <a:close/>
                <a:moveTo>
                  <a:pt x="1799101" y="1113711"/>
                </a:moveTo>
                <a:lnTo>
                  <a:pt x="1524610" y="1763373"/>
                </a:lnTo>
                <a:lnTo>
                  <a:pt x="1431798" y="1763373"/>
                </a:lnTo>
                <a:lnTo>
                  <a:pt x="2128761" y="110195"/>
                </a:lnTo>
                <a:lnTo>
                  <a:pt x="2512219" y="1020899"/>
                </a:lnTo>
                <a:lnTo>
                  <a:pt x="2605021" y="1020899"/>
                </a:lnTo>
                <a:lnTo>
                  <a:pt x="2175158" y="0"/>
                </a:lnTo>
                <a:lnTo>
                  <a:pt x="2267969" y="0"/>
                </a:lnTo>
                <a:lnTo>
                  <a:pt x="2736895" y="1113701"/>
                </a:lnTo>
                <a:lnTo>
                  <a:pt x="1799101" y="1113701"/>
                </a:lnTo>
                <a:close/>
                <a:moveTo>
                  <a:pt x="2221802" y="551602"/>
                </a:moveTo>
                <a:lnTo>
                  <a:pt x="2024015" y="1020899"/>
                </a:lnTo>
                <a:lnTo>
                  <a:pt x="2419398" y="1020899"/>
                </a:lnTo>
                <a:lnTo>
                  <a:pt x="2221802" y="551602"/>
                </a:lnTo>
                <a:close/>
                <a:moveTo>
                  <a:pt x="1838163" y="1020899"/>
                </a:moveTo>
                <a:lnTo>
                  <a:pt x="1931213" y="1020899"/>
                </a:lnTo>
                <a:lnTo>
                  <a:pt x="2175415" y="441436"/>
                </a:lnTo>
                <a:lnTo>
                  <a:pt x="2128942" y="331070"/>
                </a:lnTo>
                <a:lnTo>
                  <a:pt x="1838163" y="1020899"/>
                </a:lnTo>
                <a:close/>
              </a:path>
            </a:pathLst>
          </a:custGeom>
          <a:solidFill>
            <a:srgbClr val="041E4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1590051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7" r:id="rId1"/>
    <p:sldLayoutId id="2147483694" r:id="rId2"/>
    <p:sldLayoutId id="2147483718" r:id="rId3"/>
    <p:sldLayoutId id="2147483734" r:id="rId4"/>
    <p:sldLayoutId id="2147483735" r:id="rId5"/>
    <p:sldLayoutId id="2147483697" r:id="rId6"/>
    <p:sldLayoutId id="2147483698" r:id="rId7"/>
    <p:sldLayoutId id="2147483720" r:id="rId8"/>
    <p:sldLayoutId id="2147483721" r:id="rId9"/>
    <p:sldLayoutId id="2147483722" r:id="rId10"/>
    <p:sldLayoutId id="2147483723" r:id="rId11"/>
    <p:sldLayoutId id="2147483724" r:id="rId12"/>
    <p:sldLayoutId id="2147483725" r:id="rId13"/>
    <p:sldLayoutId id="2147483726" r:id="rId14"/>
    <p:sldLayoutId id="2147483727" r:id="rId15"/>
    <p:sldLayoutId id="2147483728" r:id="rId16"/>
    <p:sldLayoutId id="2147483729" r:id="rId17"/>
    <p:sldLayoutId id="2147483730" r:id="rId18"/>
    <p:sldLayoutId id="2147483731" r:id="rId19"/>
    <p:sldLayoutId id="2147483732" r:id="rId20"/>
    <p:sldLayoutId id="2147483733" r:id="rId21"/>
    <p:sldLayoutId id="2147483713" r:id="rId22"/>
    <p:sldLayoutId id="2147483736" r:id="rId23"/>
    <p:sldLayoutId id="2147483716" r:id="rId24"/>
    <p:sldLayoutId id="2147483737" r:id="rId25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41E4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0"/>
        </a:spcBef>
        <a:spcAft>
          <a:spcPts val="1200"/>
        </a:spcAft>
        <a:buClr>
          <a:schemeClr val="accent3"/>
        </a:buClr>
        <a:buFont typeface="Symbol" panose="05050102010706020507" pitchFamily="18" charset="2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18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1200"/>
        </a:spcAft>
        <a:buClr>
          <a:schemeClr val="accent3"/>
        </a:buClr>
        <a:buFont typeface="Symbol" panose="05050102010706020507" pitchFamily="18" charset="2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6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1200"/>
        </a:spcAft>
        <a:buClr>
          <a:schemeClr val="accent3"/>
        </a:buClr>
        <a:buFont typeface="Symbol" panose="05050102010706020507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4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1200"/>
        </a:spcAft>
        <a:buClr>
          <a:schemeClr val="accent3"/>
        </a:buClr>
        <a:buFont typeface="Symbol" panose="05050102010706020507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1200"/>
        </a:spcAft>
        <a:buClr>
          <a:schemeClr val="accent3"/>
        </a:buClr>
        <a:buFont typeface="Symbol" panose="05050102010706020507" pitchFamily="18" charset="2"/>
        <a:buChar char="-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90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1200"/>
        </a:spcAft>
        <a:buClr>
          <a:schemeClr val="accent3"/>
        </a:buClr>
        <a:buFont typeface="Symbol" panose="05050102010706020507" pitchFamily="18" charset="2"/>
        <a:buChar char="-"/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108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1200"/>
        </a:spcAft>
        <a:buClr>
          <a:schemeClr val="accent3"/>
        </a:buClr>
        <a:buFont typeface="Symbol" panose="05050102010706020507" pitchFamily="18" charset="2"/>
        <a:buChar char="-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126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1200"/>
        </a:spcAft>
        <a:buClr>
          <a:schemeClr val="accent3"/>
        </a:buClr>
        <a:buFont typeface="Symbol" panose="05050102010706020507" pitchFamily="18" charset="2"/>
        <a:buChar char="-"/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144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1200"/>
        </a:spcAft>
        <a:buClr>
          <a:schemeClr val="accent3"/>
        </a:buClr>
        <a:buFont typeface="Symbol" panose="05050102010706020507" pitchFamily="18" charset="2"/>
        <a:buChar char="-"/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pos="3840">
          <p15:clr>
            <a:srgbClr val="F26B43"/>
          </p15:clr>
        </p15:guide>
        <p15:guide id="3" pos="325">
          <p15:clr>
            <a:srgbClr val="F26B43"/>
          </p15:clr>
        </p15:guide>
        <p15:guide id="4" pos="7357" userDrawn="1">
          <p15:clr>
            <a:srgbClr val="F26B43"/>
          </p15:clr>
        </p15:guide>
        <p15:guide id="5" orient="horz" pos="187">
          <p15:clr>
            <a:srgbClr val="F26B43"/>
          </p15:clr>
        </p15:guide>
        <p15:guide id="6" orient="horz" pos="799">
          <p15:clr>
            <a:srgbClr val="F26B43"/>
          </p15:clr>
        </p15:guide>
        <p15:guide id="7" orient="horz" pos="1026">
          <p15:clr>
            <a:srgbClr val="F26B43"/>
          </p15:clr>
        </p15:guide>
        <p15:guide id="8" orient="horz" pos="3906">
          <p15:clr>
            <a:srgbClr val="F26B43"/>
          </p15:clr>
        </p15:guide>
        <p15:guide id="9" orient="horz" pos="4178">
          <p15:clr>
            <a:srgbClr val="F26B43"/>
          </p15:clr>
        </p15:guide>
        <p15:guide id="10" pos="3908">
          <p15:clr>
            <a:srgbClr val="F26B43"/>
          </p15:clr>
        </p15:guide>
        <p15:guide id="11" pos="3772">
          <p15:clr>
            <a:srgbClr val="F26B43"/>
          </p15:clr>
        </p15:guide>
        <p15:guide id="12" orient="horz" pos="2466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7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7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7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7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7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3.xml"/><Relationship Id="rId2" Type="http://schemas.openxmlformats.org/officeDocument/2006/relationships/diagramData" Target="../diagrams/data3.xml"/><Relationship Id="rId1" Type="http://schemas.openxmlformats.org/officeDocument/2006/relationships/slideLayout" Target="../slideLayouts/slideLayout9.xml"/><Relationship Id="rId6" Type="http://schemas.microsoft.com/office/2007/relationships/diagramDrawing" Target="../diagrams/drawing3.xml"/><Relationship Id="rId5" Type="http://schemas.openxmlformats.org/officeDocument/2006/relationships/diagramColors" Target="../diagrams/colors3.xml"/><Relationship Id="rId4" Type="http://schemas.openxmlformats.org/officeDocument/2006/relationships/diagramQuickStyle" Target="../diagrams/quickStyle3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3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7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platzhalter 4">
            <a:extLst>
              <a:ext uri="{FF2B5EF4-FFF2-40B4-BE49-F238E27FC236}">
                <a16:creationId xmlns:a16="http://schemas.microsoft.com/office/drawing/2014/main" id="{15CBCD50-D025-44A5-0B7B-35ED74441CD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C19D622-EB5D-5B2F-8523-6F1DC57D8FF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Zwischenpräsentation Team 6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0DE29696-8B3B-D5C2-6D66-4A814D9C5B4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/>
              <a:t>Forschungsmethodisches Seminar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A842CBB4-9FB5-3B6D-26E6-55439CA99863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Philippe Huber, Rene Jokiel</a:t>
            </a:r>
          </a:p>
        </p:txBody>
      </p:sp>
    </p:spTree>
    <p:extLst>
      <p:ext uri="{BB962C8B-B14F-4D97-AF65-F5344CB8AC3E}">
        <p14:creationId xmlns:p14="http://schemas.microsoft.com/office/powerpoint/2010/main" val="400195400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A351964-2BB6-97F3-6B22-336C556741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89B0C6-E378-43D9-87B6-F295F13B6DA2}" type="datetime4">
              <a:rPr lang="de-DE" smtClean="0"/>
              <a:t>19. Dezember 2022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408DCD8-0AA7-E516-1759-8D23827820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b="1" dirty="0"/>
              <a:t>Philippe Huber</a:t>
            </a:r>
            <a:r>
              <a:rPr lang="de-DE" dirty="0"/>
              <a:t>, Rene Jokiel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CC781B4-8E2A-7EAA-0553-BD86241E8C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10</a:t>
            </a:fld>
            <a:endParaRPr lang="de-DE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21FCF248-E52B-AAAC-8191-981DF0055B56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141A52E9-C3AF-262C-EBCF-F1578441CF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Wir wollen versuchen, absichtlich oder unabsichtlich verzerrte Datensätze zu erkennen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729D91F5-AF69-2294-FA98-A806524F9A0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Konzepte &amp; Forschungsfrage</a:t>
            </a:r>
          </a:p>
        </p:txBody>
      </p:sp>
      <p:graphicFrame>
        <p:nvGraphicFramePr>
          <p:cNvPr id="10" name="Diagramm 9">
            <a:extLst>
              <a:ext uri="{FF2B5EF4-FFF2-40B4-BE49-F238E27FC236}">
                <a16:creationId xmlns:a16="http://schemas.microsoft.com/office/drawing/2014/main" id="{9883EDCA-14FC-F85F-B946-63D093513C0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784374241"/>
              </p:ext>
            </p:extLst>
          </p:nvPr>
        </p:nvGraphicFramePr>
        <p:xfrm>
          <a:off x="585489" y="1549746"/>
          <a:ext cx="10896609" cy="480367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27792456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itel 20">
            <a:extLst>
              <a:ext uri="{FF2B5EF4-FFF2-40B4-BE49-F238E27FC236}">
                <a16:creationId xmlns:a16="http://schemas.microsoft.com/office/drawing/2014/main" id="{3018BD05-96D8-43F2-A6AA-CC40E7C32CC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8318" y="3152001"/>
            <a:ext cx="11157743" cy="553998"/>
          </a:xfrm>
        </p:spPr>
        <p:txBody>
          <a:bodyPr/>
          <a:lstStyle/>
          <a:p>
            <a:r>
              <a:rPr lang="de-DE" dirty="0"/>
              <a:t>4. Artefakt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FE7214E1-5D14-4D0B-BADD-2E239FECEC1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29D632-EE07-48FA-B475-B0D49CBC7F92}" type="datetime4">
              <a:rPr lang="de-DE" smtClean="0"/>
              <a:pPr/>
              <a:t>19. Dezember 2022</a:t>
            </a:fld>
            <a:endParaRPr lang="de-DE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6A6AD034-0F65-47AF-9CAA-C4B0CEB30D4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Philippe Huber, </a:t>
            </a:r>
            <a:r>
              <a:rPr lang="de-DE" b="1" dirty="0"/>
              <a:t>Rene Jokiel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0F7E098-F740-40F7-A085-7034627D914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1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6711471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A351964-2BB6-97F3-6B22-336C556741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89B0C6-E378-43D9-87B6-F295F13B6DA2}" type="datetime4">
              <a:rPr lang="de-DE" smtClean="0"/>
              <a:t>19. Dezember 2022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408DCD8-0AA7-E516-1759-8D23827820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Philippe Huber, </a:t>
            </a:r>
            <a:r>
              <a:rPr lang="de-DE" b="1" dirty="0"/>
              <a:t>Rene Jokiel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CC781B4-8E2A-7EAA-0553-BD86241E8C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12</a:t>
            </a:fld>
            <a:endParaRPr lang="de-DE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21FCF248-E52B-AAAC-8191-981DF0055B56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141A52E9-C3AF-262C-EBCF-F1578441CF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Wir entwickeln für unsere Forschungsfrage ein Artefakt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729D91F5-AF69-2294-FA98-A806524F9A0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Forschungsmethode</a:t>
            </a:r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88571CD2-1CE2-C8F1-84E4-1DCA3458CF9A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54659" y="1825604"/>
            <a:ext cx="9682681" cy="38385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1092998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A351964-2BB6-97F3-6B22-336C556741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89B0C6-E378-43D9-87B6-F295F13B6DA2}" type="datetime4">
              <a:rPr lang="de-DE" smtClean="0"/>
              <a:t>19. Dezember 2022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408DCD8-0AA7-E516-1759-8D23827820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Philippe Huber, </a:t>
            </a:r>
            <a:r>
              <a:rPr lang="de-DE" b="1" dirty="0"/>
              <a:t>Rene Jokiel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CC781B4-8E2A-7EAA-0553-BD86241E8C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13</a:t>
            </a:fld>
            <a:endParaRPr lang="de-DE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21FCF248-E52B-AAAC-8191-981DF0055B56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141A52E9-C3AF-262C-EBCF-F1578441CF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Es müssen Metainformationen über die Daten übergeben werden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729D91F5-AF69-2294-FA98-A806524F9A0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Input Seite</a:t>
            </a:r>
          </a:p>
        </p:txBody>
      </p:sp>
      <p:pic>
        <p:nvPicPr>
          <p:cNvPr id="2" name="Grafik 1">
            <a:extLst>
              <a:ext uri="{FF2B5EF4-FFF2-40B4-BE49-F238E27FC236}">
                <a16:creationId xmlns:a16="http://schemas.microsoft.com/office/drawing/2014/main" id="{3760B804-F59D-546B-7E68-B4B8B6E662D7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6" t="27110" r="71732" b="7347"/>
          <a:stretch/>
        </p:blipFill>
        <p:spPr>
          <a:xfrm>
            <a:off x="8416956" y="2123502"/>
            <a:ext cx="3775044" cy="3474034"/>
          </a:xfrm>
          <a:prstGeom prst="rect">
            <a:avLst/>
          </a:prstGeom>
        </p:spPr>
      </p:pic>
      <p:sp>
        <p:nvSpPr>
          <p:cNvPr id="8" name="Textfeld 7">
            <a:extLst>
              <a:ext uri="{FF2B5EF4-FFF2-40B4-BE49-F238E27FC236}">
                <a16:creationId xmlns:a16="http://schemas.microsoft.com/office/drawing/2014/main" id="{A4EFD57F-C9DA-122F-0586-899E61A9EE4F}"/>
              </a:ext>
            </a:extLst>
          </p:cNvPr>
          <p:cNvSpPr txBox="1"/>
          <p:nvPr/>
        </p:nvSpPr>
        <p:spPr>
          <a:xfrm>
            <a:off x="515937" y="1927881"/>
            <a:ext cx="1098958" cy="3123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2000" b="0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Kontext</a:t>
            </a:r>
            <a:endParaRPr kumimoji="0" lang="de-DE" sz="1600" b="0" i="0" u="sng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5344F4E8-BB62-ED84-C538-FDDE373A3F77}"/>
              </a:ext>
            </a:extLst>
          </p:cNvPr>
          <p:cNvSpPr txBox="1"/>
          <p:nvPr/>
        </p:nvSpPr>
        <p:spPr>
          <a:xfrm>
            <a:off x="515937" y="3429000"/>
            <a:ext cx="1321252" cy="3123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2000" b="0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atensatz</a:t>
            </a:r>
            <a:endParaRPr kumimoji="0" lang="de-DE" sz="1600" b="0" i="0" u="sng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" name="Textfeld 12">
            <a:extLst>
              <a:ext uri="{FF2B5EF4-FFF2-40B4-BE49-F238E27FC236}">
                <a16:creationId xmlns:a16="http://schemas.microsoft.com/office/drawing/2014/main" id="{F0A12D57-EAD4-BDEC-432F-9EC5F4666622}"/>
              </a:ext>
            </a:extLst>
          </p:cNvPr>
          <p:cNvSpPr txBox="1"/>
          <p:nvPr/>
        </p:nvSpPr>
        <p:spPr>
          <a:xfrm>
            <a:off x="671118" y="2340456"/>
            <a:ext cx="4353888" cy="24981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- Art des Datensatzes (z.B. </a:t>
            </a:r>
            <a:r>
              <a:rPr lang="de-DE" sz="1600" dirty="0">
                <a:solidFill>
                  <a:prstClr val="black"/>
                </a:solidFill>
                <a:latin typeface="Arial"/>
              </a:rPr>
              <a:t>Kreditvergabe)</a:t>
            </a: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99E5031C-8BD0-B825-1261-11893E18CB39}"/>
              </a:ext>
            </a:extLst>
          </p:cNvPr>
          <p:cNvSpPr txBox="1"/>
          <p:nvPr/>
        </p:nvSpPr>
        <p:spPr>
          <a:xfrm>
            <a:off x="671118" y="2624662"/>
            <a:ext cx="2013359" cy="24981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- Kritische Spalten</a:t>
            </a:r>
          </a:p>
        </p:txBody>
      </p:sp>
      <p:sp>
        <p:nvSpPr>
          <p:cNvPr id="15" name="Textfeld 14">
            <a:extLst>
              <a:ext uri="{FF2B5EF4-FFF2-40B4-BE49-F238E27FC236}">
                <a16:creationId xmlns:a16="http://schemas.microsoft.com/office/drawing/2014/main" id="{15A53A07-0CED-A9D5-22AE-7B325DF7759C}"/>
              </a:ext>
            </a:extLst>
          </p:cNvPr>
          <p:cNvSpPr txBox="1"/>
          <p:nvPr/>
        </p:nvSpPr>
        <p:spPr>
          <a:xfrm>
            <a:off x="671118" y="2908868"/>
            <a:ext cx="2130805" cy="24981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- Irrelevante Spalten</a:t>
            </a:r>
          </a:p>
        </p:txBody>
      </p:sp>
      <p:sp>
        <p:nvSpPr>
          <p:cNvPr id="16" name="Textfeld 15">
            <a:extLst>
              <a:ext uri="{FF2B5EF4-FFF2-40B4-BE49-F238E27FC236}">
                <a16:creationId xmlns:a16="http://schemas.microsoft.com/office/drawing/2014/main" id="{5CCB3162-E1E1-3DAD-FE36-17E65FBE6868}"/>
              </a:ext>
            </a:extLst>
          </p:cNvPr>
          <p:cNvSpPr txBox="1"/>
          <p:nvPr/>
        </p:nvSpPr>
        <p:spPr>
          <a:xfrm>
            <a:off x="671118" y="3864015"/>
            <a:ext cx="2637941" cy="24981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de-DE" sz="1600" dirty="0">
                <a:solidFill>
                  <a:prstClr val="black"/>
                </a:solidFill>
                <a:latin typeface="Arial"/>
              </a:rPr>
              <a:t>- Tabellarischer Datensatz</a:t>
            </a: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7" name="Textfeld 16">
            <a:extLst>
              <a:ext uri="{FF2B5EF4-FFF2-40B4-BE49-F238E27FC236}">
                <a16:creationId xmlns:a16="http://schemas.microsoft.com/office/drawing/2014/main" id="{6463B489-EE07-3F29-1662-A74760C75AFE}"/>
              </a:ext>
            </a:extLst>
          </p:cNvPr>
          <p:cNvSpPr txBox="1"/>
          <p:nvPr/>
        </p:nvSpPr>
        <p:spPr>
          <a:xfrm>
            <a:off x="671118" y="4155961"/>
            <a:ext cx="3103928" cy="24981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de-DE" sz="1600" dirty="0">
                <a:solidFill>
                  <a:prstClr val="black"/>
                </a:solidFill>
                <a:latin typeface="Arial"/>
              </a:rPr>
              <a:t>- Idealerweise im CSV-Format</a:t>
            </a: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2209997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A351964-2BB6-97F3-6B22-336C556741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89B0C6-E378-43D9-87B6-F295F13B6DA2}" type="datetime4">
              <a:rPr lang="de-DE" smtClean="0"/>
              <a:t>19. Dezember 2022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408DCD8-0AA7-E516-1759-8D23827820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Philippe Huber, </a:t>
            </a:r>
            <a:r>
              <a:rPr lang="de-DE" b="1" dirty="0"/>
              <a:t>Rene Jokiel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CC781B4-8E2A-7EAA-0553-BD86241E8C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14</a:t>
            </a:fld>
            <a:endParaRPr lang="de-DE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21FCF248-E52B-AAAC-8191-981DF0055B56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141A52E9-C3AF-262C-EBCF-F1578441CF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Es gibt zwei mögliche Outputs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729D91F5-AF69-2294-FA98-A806524F9A0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Output Seite</a:t>
            </a: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A4EFD57F-C9DA-122F-0586-899E61A9EE4F}"/>
              </a:ext>
            </a:extLst>
          </p:cNvPr>
          <p:cNvSpPr txBox="1"/>
          <p:nvPr/>
        </p:nvSpPr>
        <p:spPr>
          <a:xfrm>
            <a:off x="515937" y="1927881"/>
            <a:ext cx="3099718" cy="3123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de-DE" sz="2000" u="sng" dirty="0">
                <a:solidFill>
                  <a:prstClr val="black"/>
                </a:solidFill>
                <a:latin typeface="Arial"/>
              </a:rPr>
              <a:t>„</a:t>
            </a:r>
            <a:r>
              <a:rPr lang="de-DE" sz="2000" u="sng" dirty="0" err="1">
                <a:solidFill>
                  <a:prstClr val="black"/>
                </a:solidFill>
                <a:latin typeface="Arial"/>
              </a:rPr>
              <a:t>No</a:t>
            </a:r>
            <a:r>
              <a:rPr lang="de-DE" sz="2000" u="sng" dirty="0">
                <a:solidFill>
                  <a:prstClr val="black"/>
                </a:solidFill>
                <a:latin typeface="Arial"/>
              </a:rPr>
              <a:t> Bias“ Meldung</a:t>
            </a:r>
            <a:endParaRPr kumimoji="0" lang="de-DE" sz="1600" b="0" i="0" u="sng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5344F4E8-BB62-ED84-C538-FDDE373A3F77}"/>
              </a:ext>
            </a:extLst>
          </p:cNvPr>
          <p:cNvSpPr txBox="1"/>
          <p:nvPr/>
        </p:nvSpPr>
        <p:spPr>
          <a:xfrm>
            <a:off x="515936" y="3085755"/>
            <a:ext cx="3175219" cy="3123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2000" b="0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„Bias gefunden“ Meldung</a:t>
            </a:r>
            <a:endParaRPr kumimoji="0" lang="de-DE" sz="1600" b="0" i="0" u="sng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" name="Textfeld 12">
            <a:extLst>
              <a:ext uri="{FF2B5EF4-FFF2-40B4-BE49-F238E27FC236}">
                <a16:creationId xmlns:a16="http://schemas.microsoft.com/office/drawing/2014/main" id="{F0A12D57-EAD4-BDEC-432F-9EC5F4666622}"/>
              </a:ext>
            </a:extLst>
          </p:cNvPr>
          <p:cNvSpPr txBox="1"/>
          <p:nvPr/>
        </p:nvSpPr>
        <p:spPr>
          <a:xfrm>
            <a:off x="671118" y="2327691"/>
            <a:ext cx="4110607" cy="5206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de-DE" sz="1600" dirty="0">
                <a:solidFill>
                  <a:prstClr val="black"/>
                </a:solidFill>
                <a:latin typeface="Arial"/>
              </a:rPr>
              <a:t>Kommt, wenn keine Verzerrungen gefunden wurden</a:t>
            </a: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18" name="Gruppieren 17">
            <a:extLst>
              <a:ext uri="{FF2B5EF4-FFF2-40B4-BE49-F238E27FC236}">
                <a16:creationId xmlns:a16="http://schemas.microsoft.com/office/drawing/2014/main" id="{CDF21BCF-43F0-5089-DB5B-B0068181B94A}"/>
              </a:ext>
            </a:extLst>
          </p:cNvPr>
          <p:cNvGrpSpPr/>
          <p:nvPr/>
        </p:nvGrpSpPr>
        <p:grpSpPr>
          <a:xfrm>
            <a:off x="6971250" y="1972623"/>
            <a:ext cx="5037085" cy="3537413"/>
            <a:chOff x="6542414" y="1777979"/>
            <a:chExt cx="5465922" cy="3838574"/>
          </a:xfrm>
        </p:grpSpPr>
        <p:pic>
          <p:nvPicPr>
            <p:cNvPr id="11" name="Grafik 10">
              <a:extLst>
                <a:ext uri="{FF2B5EF4-FFF2-40B4-BE49-F238E27FC236}">
                  <a16:creationId xmlns:a16="http://schemas.microsoft.com/office/drawing/2014/main" id="{BE257EE2-A2AB-A0FB-BB4B-678649965F7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50000"/>
            <a:stretch/>
          </p:blipFill>
          <p:spPr>
            <a:xfrm>
              <a:off x="7166996" y="1777979"/>
              <a:ext cx="4841340" cy="3838574"/>
            </a:xfrm>
            <a:prstGeom prst="rect">
              <a:avLst/>
            </a:prstGeom>
          </p:spPr>
        </p:pic>
        <p:sp>
          <p:nvSpPr>
            <p:cNvPr id="12" name="Rechteck 11">
              <a:extLst>
                <a:ext uri="{FF2B5EF4-FFF2-40B4-BE49-F238E27FC236}">
                  <a16:creationId xmlns:a16="http://schemas.microsoft.com/office/drawing/2014/main" id="{6D6B8A37-187A-B7CC-ACEB-5F8475D0FDDF}"/>
                </a:ext>
              </a:extLst>
            </p:cNvPr>
            <p:cNvSpPr/>
            <p:nvPr/>
          </p:nvSpPr>
          <p:spPr>
            <a:xfrm>
              <a:off x="6542414" y="2872237"/>
              <a:ext cx="791836" cy="2376037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80000" bIns="180000" rtlCol="0" anchor="ctr"/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endPara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19" name="Textfeld 18">
            <a:extLst>
              <a:ext uri="{FF2B5EF4-FFF2-40B4-BE49-F238E27FC236}">
                <a16:creationId xmlns:a16="http://schemas.microsoft.com/office/drawing/2014/main" id="{ABAE8B9C-1791-CAA0-88EC-757A3BAA3169}"/>
              </a:ext>
            </a:extLst>
          </p:cNvPr>
          <p:cNvSpPr txBox="1"/>
          <p:nvPr/>
        </p:nvSpPr>
        <p:spPr>
          <a:xfrm>
            <a:off x="515936" y="4243629"/>
            <a:ext cx="4265789" cy="3123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2000" b="0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efundene </a:t>
            </a:r>
            <a:r>
              <a:rPr kumimoji="0" lang="de-DE" sz="2000" b="0" i="0" u="sng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iases</a:t>
            </a:r>
            <a:r>
              <a:rPr kumimoji="0" lang="de-DE" sz="2000" b="0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und Risikoquellen</a:t>
            </a:r>
            <a:endParaRPr kumimoji="0" lang="de-DE" sz="1600" b="0" i="0" u="sng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0" name="Textfeld 19">
            <a:extLst>
              <a:ext uri="{FF2B5EF4-FFF2-40B4-BE49-F238E27FC236}">
                <a16:creationId xmlns:a16="http://schemas.microsoft.com/office/drawing/2014/main" id="{5A0FDA5F-C19E-B1EA-E4C3-BAB01E7FF5EF}"/>
              </a:ext>
            </a:extLst>
          </p:cNvPr>
          <p:cNvSpPr txBox="1"/>
          <p:nvPr/>
        </p:nvSpPr>
        <p:spPr>
          <a:xfrm>
            <a:off x="671118" y="3526355"/>
            <a:ext cx="4265789" cy="24981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de-DE" sz="1600" dirty="0">
                <a:solidFill>
                  <a:prstClr val="black"/>
                </a:solidFill>
                <a:latin typeface="Arial"/>
              </a:rPr>
              <a:t>Kommt, wenn Verzerrungen gefunden wurden</a:t>
            </a: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5" name="Textfeld 24">
            <a:extLst>
              <a:ext uri="{FF2B5EF4-FFF2-40B4-BE49-F238E27FC236}">
                <a16:creationId xmlns:a16="http://schemas.microsoft.com/office/drawing/2014/main" id="{C30E920C-798E-CF11-1F1B-E09B1590E0E3}"/>
              </a:ext>
            </a:extLst>
          </p:cNvPr>
          <p:cNvSpPr txBox="1"/>
          <p:nvPr/>
        </p:nvSpPr>
        <p:spPr>
          <a:xfrm>
            <a:off x="671117" y="4665595"/>
            <a:ext cx="4265789" cy="24981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de-DE" sz="1600" dirty="0">
                <a:solidFill>
                  <a:prstClr val="black"/>
                </a:solidFill>
                <a:latin typeface="Arial"/>
              </a:rPr>
              <a:t>- Datei</a:t>
            </a: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6" name="Textfeld 25">
            <a:extLst>
              <a:ext uri="{FF2B5EF4-FFF2-40B4-BE49-F238E27FC236}">
                <a16:creationId xmlns:a16="http://schemas.microsoft.com/office/drawing/2014/main" id="{D0C84327-9ED2-7929-1CD3-C3A1498E481A}"/>
              </a:ext>
            </a:extLst>
          </p:cNvPr>
          <p:cNvSpPr txBox="1"/>
          <p:nvPr/>
        </p:nvSpPr>
        <p:spPr>
          <a:xfrm>
            <a:off x="671116" y="4965522"/>
            <a:ext cx="4265789" cy="24981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de-DE" sz="1600" dirty="0">
                <a:solidFill>
                  <a:prstClr val="black"/>
                </a:solidFill>
                <a:latin typeface="Arial"/>
              </a:rPr>
              <a:t>- Beschreibung aller gefundenen </a:t>
            </a:r>
            <a:r>
              <a:rPr lang="de-DE" sz="1600" dirty="0" err="1">
                <a:solidFill>
                  <a:prstClr val="black"/>
                </a:solidFill>
                <a:latin typeface="Arial"/>
              </a:rPr>
              <a:t>Biases</a:t>
            </a: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7" name="Textfeld 26">
            <a:extLst>
              <a:ext uri="{FF2B5EF4-FFF2-40B4-BE49-F238E27FC236}">
                <a16:creationId xmlns:a16="http://schemas.microsoft.com/office/drawing/2014/main" id="{C94BCA46-4874-A765-810E-61324AF464EF}"/>
              </a:ext>
            </a:extLst>
          </p:cNvPr>
          <p:cNvSpPr txBox="1"/>
          <p:nvPr/>
        </p:nvSpPr>
        <p:spPr>
          <a:xfrm>
            <a:off x="671116" y="5299675"/>
            <a:ext cx="4924341" cy="24981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de-DE" sz="1600" dirty="0">
                <a:solidFill>
                  <a:prstClr val="black"/>
                </a:solidFill>
                <a:latin typeface="Arial"/>
              </a:rPr>
              <a:t>- Bewertung / Gewichtung der gefundenen </a:t>
            </a:r>
            <a:r>
              <a:rPr lang="de-DE" sz="1600" dirty="0" err="1">
                <a:solidFill>
                  <a:prstClr val="black"/>
                </a:solidFill>
                <a:latin typeface="Arial"/>
              </a:rPr>
              <a:t>Biases</a:t>
            </a: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0167139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A351964-2BB6-97F3-6B22-336C556741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89B0C6-E378-43D9-87B6-F295F13B6DA2}" type="datetime4">
              <a:rPr lang="de-DE" smtClean="0"/>
              <a:t>19. Dezember 2022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408DCD8-0AA7-E516-1759-8D23827820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Philippe Huber, </a:t>
            </a:r>
            <a:r>
              <a:rPr lang="de-DE" b="1" dirty="0"/>
              <a:t>Rene Jokiel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CC781B4-8E2A-7EAA-0553-BD86241E8C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15</a:t>
            </a:fld>
            <a:endParaRPr lang="de-DE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141A52E9-C3AF-262C-EBCF-F1578441CF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er gesamte Datensatz wird als Trainingsdatensatz verwendet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729D91F5-AF69-2294-FA98-A806524F9A0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Ansatz für das Artefakt</a:t>
            </a:r>
          </a:p>
        </p:txBody>
      </p:sp>
      <p:pic>
        <p:nvPicPr>
          <p:cNvPr id="16" name="Grafik 15">
            <a:extLst>
              <a:ext uri="{FF2B5EF4-FFF2-40B4-BE49-F238E27FC236}">
                <a16:creationId xmlns:a16="http://schemas.microsoft.com/office/drawing/2014/main" id="{8EC5B7C8-2ACC-6064-B835-7E97525ED898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8778" y="1552575"/>
            <a:ext cx="10554443" cy="46672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10966674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A351964-2BB6-97F3-6B22-336C556741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89B0C6-E378-43D9-87B6-F295F13B6DA2}" type="datetime4">
              <a:rPr lang="de-DE" smtClean="0"/>
              <a:t>19. Dezember 2022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408DCD8-0AA7-E516-1759-8D23827820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Philippe Huber, </a:t>
            </a:r>
            <a:r>
              <a:rPr lang="de-DE" b="1" dirty="0"/>
              <a:t>Rene Jokiel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CC781B4-8E2A-7EAA-0553-BD86241E8C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16</a:t>
            </a:fld>
            <a:endParaRPr lang="de-DE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141A52E9-C3AF-262C-EBCF-F1578441CF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Biases</a:t>
            </a:r>
            <a:r>
              <a:rPr lang="de-DE" dirty="0"/>
              <a:t> können direkt abgelesen werden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729D91F5-AF69-2294-FA98-A806524F9A0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Beispiel</a:t>
            </a:r>
          </a:p>
        </p:txBody>
      </p:sp>
      <p:graphicFrame>
        <p:nvGraphicFramePr>
          <p:cNvPr id="2" name="Tabelle 7">
            <a:extLst>
              <a:ext uri="{FF2B5EF4-FFF2-40B4-BE49-F238E27FC236}">
                <a16:creationId xmlns:a16="http://schemas.microsoft.com/office/drawing/2014/main" id="{EFB559C1-B784-539B-47A2-BECF9D645D5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03662752"/>
              </p:ext>
            </p:extLst>
          </p:nvPr>
        </p:nvGraphicFramePr>
        <p:xfrm>
          <a:off x="515937" y="2610559"/>
          <a:ext cx="4376945" cy="2817859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875389">
                  <a:extLst>
                    <a:ext uri="{9D8B030D-6E8A-4147-A177-3AD203B41FA5}">
                      <a16:colId xmlns:a16="http://schemas.microsoft.com/office/drawing/2014/main" val="3984235547"/>
                    </a:ext>
                  </a:extLst>
                </a:gridCol>
                <a:gridCol w="875389">
                  <a:extLst>
                    <a:ext uri="{9D8B030D-6E8A-4147-A177-3AD203B41FA5}">
                      <a16:colId xmlns:a16="http://schemas.microsoft.com/office/drawing/2014/main" val="709406686"/>
                    </a:ext>
                  </a:extLst>
                </a:gridCol>
                <a:gridCol w="875389">
                  <a:extLst>
                    <a:ext uri="{9D8B030D-6E8A-4147-A177-3AD203B41FA5}">
                      <a16:colId xmlns:a16="http://schemas.microsoft.com/office/drawing/2014/main" val="1072629174"/>
                    </a:ext>
                  </a:extLst>
                </a:gridCol>
                <a:gridCol w="875389">
                  <a:extLst>
                    <a:ext uri="{9D8B030D-6E8A-4147-A177-3AD203B41FA5}">
                      <a16:colId xmlns:a16="http://schemas.microsoft.com/office/drawing/2014/main" val="2070901893"/>
                    </a:ext>
                  </a:extLst>
                </a:gridCol>
                <a:gridCol w="875389">
                  <a:extLst>
                    <a:ext uri="{9D8B030D-6E8A-4147-A177-3AD203B41FA5}">
                      <a16:colId xmlns:a16="http://schemas.microsoft.com/office/drawing/2014/main" val="2536741681"/>
                    </a:ext>
                  </a:extLst>
                </a:gridCol>
              </a:tblGrid>
              <a:tr h="385128">
                <a:tc>
                  <a:txBody>
                    <a:bodyPr/>
                    <a:lstStyle/>
                    <a:p>
                      <a:r>
                        <a:rPr lang="de-DE" sz="1100" dirty="0"/>
                        <a:t>Name</a:t>
                      </a:r>
                    </a:p>
                  </a:txBody>
                  <a:tcPr marL="49241" marR="49241" marT="24621" marB="24621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Alter</a:t>
                      </a:r>
                    </a:p>
                  </a:txBody>
                  <a:tcPr marL="49241" marR="49241" marT="24621" marB="24621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Geschlecht</a:t>
                      </a:r>
                    </a:p>
                  </a:txBody>
                  <a:tcPr marL="49241" marR="49241" marT="24621" marB="24621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Arbeitsstunden</a:t>
                      </a:r>
                    </a:p>
                  </a:txBody>
                  <a:tcPr marL="49241" marR="49241" marT="24621" marB="24621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Abteilung</a:t>
                      </a:r>
                    </a:p>
                  </a:txBody>
                  <a:tcPr marL="49241" marR="49241" marT="24621" marB="24621"/>
                </a:tc>
                <a:extLst>
                  <a:ext uri="{0D108BD9-81ED-4DB2-BD59-A6C34878D82A}">
                    <a16:rowId xmlns:a16="http://schemas.microsoft.com/office/drawing/2014/main" val="931524433"/>
                  </a:ext>
                </a:extLst>
              </a:tr>
              <a:tr h="347533">
                <a:tc>
                  <a:txBody>
                    <a:bodyPr/>
                    <a:lstStyle/>
                    <a:p>
                      <a:r>
                        <a:rPr lang="de-DE" sz="1100" dirty="0"/>
                        <a:t>Karl</a:t>
                      </a:r>
                    </a:p>
                  </a:txBody>
                  <a:tcPr marL="49241" marR="49241" marT="24621" marB="24621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25</a:t>
                      </a:r>
                    </a:p>
                  </a:txBody>
                  <a:tcPr marL="49241" marR="49241" marT="24621" marB="24621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m</a:t>
                      </a:r>
                    </a:p>
                  </a:txBody>
                  <a:tcPr marL="49241" marR="49241" marT="24621" marB="24621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50</a:t>
                      </a:r>
                    </a:p>
                  </a:txBody>
                  <a:tcPr marL="49241" marR="49241" marT="24621" marB="24621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F&amp;E</a:t>
                      </a:r>
                    </a:p>
                  </a:txBody>
                  <a:tcPr marL="49241" marR="49241" marT="24621" marB="24621"/>
                </a:tc>
                <a:extLst>
                  <a:ext uri="{0D108BD9-81ED-4DB2-BD59-A6C34878D82A}">
                    <a16:rowId xmlns:a16="http://schemas.microsoft.com/office/drawing/2014/main" val="2823732484"/>
                  </a:ext>
                </a:extLst>
              </a:tr>
              <a:tr h="347533">
                <a:tc>
                  <a:txBody>
                    <a:bodyPr/>
                    <a:lstStyle/>
                    <a:p>
                      <a:r>
                        <a:rPr lang="de-DE" sz="1100" dirty="0"/>
                        <a:t>Karl</a:t>
                      </a:r>
                    </a:p>
                  </a:txBody>
                  <a:tcPr marL="49241" marR="49241" marT="24621" marB="24621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27</a:t>
                      </a:r>
                    </a:p>
                  </a:txBody>
                  <a:tcPr marL="49241" marR="49241" marT="24621" marB="24621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m</a:t>
                      </a:r>
                    </a:p>
                  </a:txBody>
                  <a:tcPr marL="49241" marR="49241" marT="24621" marB="24621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72</a:t>
                      </a:r>
                    </a:p>
                  </a:txBody>
                  <a:tcPr marL="49241" marR="49241" marT="24621" marB="24621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100" dirty="0"/>
                        <a:t>F&amp;E</a:t>
                      </a:r>
                    </a:p>
                  </a:txBody>
                  <a:tcPr marL="49241" marR="49241" marT="24621" marB="24621"/>
                </a:tc>
                <a:extLst>
                  <a:ext uri="{0D108BD9-81ED-4DB2-BD59-A6C34878D82A}">
                    <a16:rowId xmlns:a16="http://schemas.microsoft.com/office/drawing/2014/main" val="3373951042"/>
                  </a:ext>
                </a:extLst>
              </a:tr>
              <a:tr h="347533">
                <a:tc>
                  <a:txBody>
                    <a:bodyPr/>
                    <a:lstStyle/>
                    <a:p>
                      <a:r>
                        <a:rPr lang="de-DE" sz="1100" dirty="0"/>
                        <a:t>Karla</a:t>
                      </a:r>
                    </a:p>
                  </a:txBody>
                  <a:tcPr marL="49241" marR="49241" marT="24621" marB="24621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26</a:t>
                      </a:r>
                    </a:p>
                  </a:txBody>
                  <a:tcPr marL="49241" marR="49241" marT="24621" marB="24621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w</a:t>
                      </a:r>
                    </a:p>
                  </a:txBody>
                  <a:tcPr marL="49241" marR="49241" marT="24621" marB="24621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65</a:t>
                      </a:r>
                    </a:p>
                  </a:txBody>
                  <a:tcPr marL="49241" marR="49241" marT="24621" marB="24621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100" dirty="0"/>
                        <a:t>F&amp;E</a:t>
                      </a:r>
                    </a:p>
                  </a:txBody>
                  <a:tcPr marL="49241" marR="49241" marT="24621" marB="24621"/>
                </a:tc>
                <a:extLst>
                  <a:ext uri="{0D108BD9-81ED-4DB2-BD59-A6C34878D82A}">
                    <a16:rowId xmlns:a16="http://schemas.microsoft.com/office/drawing/2014/main" val="4265644564"/>
                  </a:ext>
                </a:extLst>
              </a:tr>
              <a:tr h="347533">
                <a:tc>
                  <a:txBody>
                    <a:bodyPr/>
                    <a:lstStyle/>
                    <a:p>
                      <a:r>
                        <a:rPr lang="de-DE" sz="1100" dirty="0"/>
                        <a:t>…</a:t>
                      </a:r>
                    </a:p>
                  </a:txBody>
                  <a:tcPr marL="49241" marR="49241" marT="24621" marB="24621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…</a:t>
                      </a:r>
                    </a:p>
                  </a:txBody>
                  <a:tcPr marL="49241" marR="49241" marT="24621" marB="24621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…</a:t>
                      </a:r>
                    </a:p>
                  </a:txBody>
                  <a:tcPr marL="49241" marR="49241" marT="24621" marB="24621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…</a:t>
                      </a:r>
                    </a:p>
                  </a:txBody>
                  <a:tcPr marL="49241" marR="49241" marT="24621" marB="24621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100" dirty="0"/>
                        <a:t>…</a:t>
                      </a:r>
                    </a:p>
                  </a:txBody>
                  <a:tcPr marL="49241" marR="49241" marT="24621" marB="24621"/>
                </a:tc>
                <a:extLst>
                  <a:ext uri="{0D108BD9-81ED-4DB2-BD59-A6C34878D82A}">
                    <a16:rowId xmlns:a16="http://schemas.microsoft.com/office/drawing/2014/main" val="3513294687"/>
                  </a:ext>
                </a:extLst>
              </a:tr>
              <a:tr h="347533">
                <a:tc>
                  <a:txBody>
                    <a:bodyPr/>
                    <a:lstStyle/>
                    <a:p>
                      <a:r>
                        <a:rPr lang="de-DE" sz="1100" dirty="0"/>
                        <a:t>Karla</a:t>
                      </a:r>
                    </a:p>
                  </a:txBody>
                  <a:tcPr marL="49241" marR="49241" marT="24621" marB="24621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32</a:t>
                      </a:r>
                    </a:p>
                  </a:txBody>
                  <a:tcPr marL="49241" marR="49241" marT="24621" marB="24621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w</a:t>
                      </a:r>
                    </a:p>
                  </a:txBody>
                  <a:tcPr marL="49241" marR="49241" marT="24621" marB="24621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80</a:t>
                      </a:r>
                    </a:p>
                  </a:txBody>
                  <a:tcPr marL="49241" marR="49241" marT="24621" marB="24621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100" dirty="0"/>
                        <a:t>F&amp;E</a:t>
                      </a:r>
                    </a:p>
                  </a:txBody>
                  <a:tcPr marL="49241" marR="49241" marT="24621" marB="24621"/>
                </a:tc>
                <a:extLst>
                  <a:ext uri="{0D108BD9-81ED-4DB2-BD59-A6C34878D82A}">
                    <a16:rowId xmlns:a16="http://schemas.microsoft.com/office/drawing/2014/main" val="2974351137"/>
                  </a:ext>
                </a:extLst>
              </a:tr>
              <a:tr h="347533">
                <a:tc>
                  <a:txBody>
                    <a:bodyPr/>
                    <a:lstStyle/>
                    <a:p>
                      <a:r>
                        <a:rPr lang="de-DE" sz="1100" dirty="0"/>
                        <a:t>Karl</a:t>
                      </a:r>
                    </a:p>
                  </a:txBody>
                  <a:tcPr marL="49241" marR="49241" marT="24621" marB="24621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59</a:t>
                      </a:r>
                    </a:p>
                  </a:txBody>
                  <a:tcPr marL="49241" marR="49241" marT="24621" marB="24621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m</a:t>
                      </a:r>
                    </a:p>
                  </a:txBody>
                  <a:tcPr marL="49241" marR="49241" marT="24621" marB="24621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90</a:t>
                      </a:r>
                    </a:p>
                  </a:txBody>
                  <a:tcPr marL="49241" marR="49241" marT="24621" marB="24621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100" dirty="0"/>
                        <a:t>F&amp;E</a:t>
                      </a:r>
                    </a:p>
                  </a:txBody>
                  <a:tcPr marL="49241" marR="49241" marT="24621" marB="24621"/>
                </a:tc>
                <a:extLst>
                  <a:ext uri="{0D108BD9-81ED-4DB2-BD59-A6C34878D82A}">
                    <a16:rowId xmlns:a16="http://schemas.microsoft.com/office/drawing/2014/main" val="2345750782"/>
                  </a:ext>
                </a:extLst>
              </a:tr>
              <a:tr h="347533">
                <a:tc>
                  <a:txBody>
                    <a:bodyPr/>
                    <a:lstStyle/>
                    <a:p>
                      <a:r>
                        <a:rPr lang="de-DE" sz="1100" dirty="0"/>
                        <a:t>Karl</a:t>
                      </a:r>
                    </a:p>
                  </a:txBody>
                  <a:tcPr marL="49241" marR="49241" marT="24621" marB="24621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34</a:t>
                      </a:r>
                    </a:p>
                  </a:txBody>
                  <a:tcPr marL="49241" marR="49241" marT="24621" marB="24621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m</a:t>
                      </a:r>
                    </a:p>
                  </a:txBody>
                  <a:tcPr marL="49241" marR="49241" marT="24621" marB="24621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105</a:t>
                      </a:r>
                    </a:p>
                  </a:txBody>
                  <a:tcPr marL="49241" marR="49241" marT="24621" marB="24621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100" dirty="0"/>
                        <a:t>F&amp;E</a:t>
                      </a:r>
                    </a:p>
                  </a:txBody>
                  <a:tcPr marL="49241" marR="49241" marT="24621" marB="24621"/>
                </a:tc>
                <a:extLst>
                  <a:ext uri="{0D108BD9-81ED-4DB2-BD59-A6C34878D82A}">
                    <a16:rowId xmlns:a16="http://schemas.microsoft.com/office/drawing/2014/main" val="2952403903"/>
                  </a:ext>
                </a:extLst>
              </a:tr>
            </a:tbl>
          </a:graphicData>
        </a:graphic>
      </p:graphicFrame>
      <p:graphicFrame>
        <p:nvGraphicFramePr>
          <p:cNvPr id="8" name="Tabelle 7">
            <a:extLst>
              <a:ext uri="{FF2B5EF4-FFF2-40B4-BE49-F238E27FC236}">
                <a16:creationId xmlns:a16="http://schemas.microsoft.com/office/drawing/2014/main" id="{C84B13B4-10FB-C100-8175-10E11CCE439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41595192"/>
              </p:ext>
            </p:extLst>
          </p:nvPr>
        </p:nvGraphicFramePr>
        <p:xfrm>
          <a:off x="8503190" y="2627723"/>
          <a:ext cx="2619198" cy="2810667"/>
        </p:xfrm>
        <a:graphic>
          <a:graphicData uri="http://schemas.openxmlformats.org/drawingml/2006/table">
            <a:tbl>
              <a:tblPr firstRow="1" bandRow="1">
                <a:tableStyleId>{7DF18680-E054-41AD-8BC1-D1AEF772440D}</a:tableStyleId>
              </a:tblPr>
              <a:tblGrid>
                <a:gridCol w="873066">
                  <a:extLst>
                    <a:ext uri="{9D8B030D-6E8A-4147-A177-3AD203B41FA5}">
                      <a16:colId xmlns:a16="http://schemas.microsoft.com/office/drawing/2014/main" val="3984235547"/>
                    </a:ext>
                  </a:extLst>
                </a:gridCol>
                <a:gridCol w="873066">
                  <a:extLst>
                    <a:ext uri="{9D8B030D-6E8A-4147-A177-3AD203B41FA5}">
                      <a16:colId xmlns:a16="http://schemas.microsoft.com/office/drawing/2014/main" val="709406686"/>
                    </a:ext>
                  </a:extLst>
                </a:gridCol>
                <a:gridCol w="873066">
                  <a:extLst>
                    <a:ext uri="{9D8B030D-6E8A-4147-A177-3AD203B41FA5}">
                      <a16:colId xmlns:a16="http://schemas.microsoft.com/office/drawing/2014/main" val="2536741681"/>
                    </a:ext>
                  </a:extLst>
                </a:gridCol>
              </a:tblGrid>
              <a:tr h="379413">
                <a:tc>
                  <a:txBody>
                    <a:bodyPr/>
                    <a:lstStyle/>
                    <a:p>
                      <a:r>
                        <a:rPr lang="de-DE" sz="1100" dirty="0"/>
                        <a:t>Geschlecht</a:t>
                      </a:r>
                    </a:p>
                  </a:txBody>
                  <a:tcPr marL="49110" marR="49110" marT="24555" marB="24555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Arbeitsstunden</a:t>
                      </a:r>
                    </a:p>
                  </a:txBody>
                  <a:tcPr marL="49110" marR="49110" marT="24555" marB="24555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Befördern?</a:t>
                      </a:r>
                    </a:p>
                  </a:txBody>
                  <a:tcPr marL="49110" marR="49110" marT="24555" marB="24555"/>
                </a:tc>
                <a:extLst>
                  <a:ext uri="{0D108BD9-81ED-4DB2-BD59-A6C34878D82A}">
                    <a16:rowId xmlns:a16="http://schemas.microsoft.com/office/drawing/2014/main" val="931524433"/>
                  </a:ext>
                </a:extLst>
              </a:tr>
              <a:tr h="346611">
                <a:tc>
                  <a:txBody>
                    <a:bodyPr/>
                    <a:lstStyle/>
                    <a:p>
                      <a:r>
                        <a:rPr lang="de-DE" sz="1100" dirty="0"/>
                        <a:t>m</a:t>
                      </a:r>
                    </a:p>
                  </a:txBody>
                  <a:tcPr marL="49110" marR="49110" marT="24555" marB="24555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50</a:t>
                      </a:r>
                    </a:p>
                  </a:txBody>
                  <a:tcPr marL="49110" marR="49110" marT="24555" marB="24555"/>
                </a:tc>
                <a:tc>
                  <a:txBody>
                    <a:bodyPr/>
                    <a:lstStyle/>
                    <a:p>
                      <a:r>
                        <a:rPr lang="de-DE" sz="1100" dirty="0" err="1"/>
                        <a:t>false</a:t>
                      </a:r>
                      <a:endParaRPr lang="de-DE" sz="1100" dirty="0"/>
                    </a:p>
                  </a:txBody>
                  <a:tcPr marL="49110" marR="49110" marT="24555" marB="24555"/>
                </a:tc>
                <a:extLst>
                  <a:ext uri="{0D108BD9-81ED-4DB2-BD59-A6C34878D82A}">
                    <a16:rowId xmlns:a16="http://schemas.microsoft.com/office/drawing/2014/main" val="2823732484"/>
                  </a:ext>
                </a:extLst>
              </a:tr>
              <a:tr h="346611">
                <a:tc>
                  <a:txBody>
                    <a:bodyPr/>
                    <a:lstStyle/>
                    <a:p>
                      <a:r>
                        <a:rPr lang="de-DE" sz="1100" dirty="0"/>
                        <a:t>m</a:t>
                      </a:r>
                    </a:p>
                  </a:txBody>
                  <a:tcPr marL="49110" marR="49110" marT="24555" marB="24555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64</a:t>
                      </a:r>
                    </a:p>
                  </a:txBody>
                  <a:tcPr marL="49110" marR="49110" marT="24555" marB="24555"/>
                </a:tc>
                <a:tc>
                  <a:txBody>
                    <a:bodyPr/>
                    <a:lstStyle/>
                    <a:p>
                      <a:r>
                        <a:rPr lang="de-DE" sz="1100" dirty="0" err="1"/>
                        <a:t>false</a:t>
                      </a:r>
                      <a:endParaRPr lang="de-DE" sz="1100" dirty="0"/>
                    </a:p>
                  </a:txBody>
                  <a:tcPr marL="49110" marR="49110" marT="24555" marB="24555"/>
                </a:tc>
                <a:extLst>
                  <a:ext uri="{0D108BD9-81ED-4DB2-BD59-A6C34878D82A}">
                    <a16:rowId xmlns:a16="http://schemas.microsoft.com/office/drawing/2014/main" val="3373951042"/>
                  </a:ext>
                </a:extLst>
              </a:tr>
              <a:tr h="346611">
                <a:tc>
                  <a:txBody>
                    <a:bodyPr/>
                    <a:lstStyle/>
                    <a:p>
                      <a:r>
                        <a:rPr lang="de-DE" sz="1100" dirty="0"/>
                        <a:t>m</a:t>
                      </a:r>
                    </a:p>
                  </a:txBody>
                  <a:tcPr marL="49110" marR="49110" marT="24555" marB="24555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1100" b="1" u="sng" dirty="0"/>
                        <a:t>65</a:t>
                      </a:r>
                    </a:p>
                  </a:txBody>
                  <a:tcPr marL="49110" marR="49110" marT="24555" marB="24555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1100" dirty="0" err="1"/>
                        <a:t>true</a:t>
                      </a:r>
                      <a:endParaRPr lang="de-DE" sz="1100" dirty="0"/>
                    </a:p>
                  </a:txBody>
                  <a:tcPr marL="49110" marR="49110" marT="24555" marB="24555"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65644564"/>
                  </a:ext>
                </a:extLst>
              </a:tr>
              <a:tr h="346611">
                <a:tc>
                  <a:txBody>
                    <a:bodyPr/>
                    <a:lstStyle/>
                    <a:p>
                      <a:r>
                        <a:rPr lang="de-DE" sz="1100" dirty="0"/>
                        <a:t>w</a:t>
                      </a:r>
                    </a:p>
                  </a:txBody>
                  <a:tcPr marL="49110" marR="49110" marT="24555" marB="24555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50</a:t>
                      </a:r>
                    </a:p>
                  </a:txBody>
                  <a:tcPr marL="49110" marR="49110" marT="24555" marB="24555"/>
                </a:tc>
                <a:tc>
                  <a:txBody>
                    <a:bodyPr/>
                    <a:lstStyle/>
                    <a:p>
                      <a:r>
                        <a:rPr lang="de-DE" sz="1100" dirty="0" err="1"/>
                        <a:t>false</a:t>
                      </a:r>
                      <a:endParaRPr lang="de-DE" sz="1100" dirty="0"/>
                    </a:p>
                  </a:txBody>
                  <a:tcPr marL="49110" marR="49110" marT="24555" marB="24555"/>
                </a:tc>
                <a:extLst>
                  <a:ext uri="{0D108BD9-81ED-4DB2-BD59-A6C34878D82A}">
                    <a16:rowId xmlns:a16="http://schemas.microsoft.com/office/drawing/2014/main" val="3513294687"/>
                  </a:ext>
                </a:extLst>
              </a:tr>
              <a:tr h="346611">
                <a:tc>
                  <a:txBody>
                    <a:bodyPr/>
                    <a:lstStyle/>
                    <a:p>
                      <a:r>
                        <a:rPr lang="de-DE" sz="1100" dirty="0"/>
                        <a:t>w</a:t>
                      </a:r>
                    </a:p>
                  </a:txBody>
                  <a:tcPr marL="49110" marR="49110" marT="24555" marB="24555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64</a:t>
                      </a:r>
                    </a:p>
                  </a:txBody>
                  <a:tcPr marL="49110" marR="49110" marT="24555" marB="24555"/>
                </a:tc>
                <a:tc>
                  <a:txBody>
                    <a:bodyPr/>
                    <a:lstStyle/>
                    <a:p>
                      <a:r>
                        <a:rPr lang="de-DE" sz="1100" dirty="0" err="1"/>
                        <a:t>false</a:t>
                      </a:r>
                      <a:endParaRPr lang="de-DE" sz="1100" dirty="0"/>
                    </a:p>
                  </a:txBody>
                  <a:tcPr marL="49110" marR="49110" marT="24555" marB="24555"/>
                </a:tc>
                <a:extLst>
                  <a:ext uri="{0D108BD9-81ED-4DB2-BD59-A6C34878D82A}">
                    <a16:rowId xmlns:a16="http://schemas.microsoft.com/office/drawing/2014/main" val="2974351137"/>
                  </a:ext>
                </a:extLst>
              </a:tr>
              <a:tr h="346611">
                <a:tc>
                  <a:txBody>
                    <a:bodyPr/>
                    <a:lstStyle/>
                    <a:p>
                      <a:r>
                        <a:rPr lang="de-DE" sz="1100" dirty="0"/>
                        <a:t>w</a:t>
                      </a:r>
                    </a:p>
                  </a:txBody>
                  <a:tcPr marL="49110" marR="49110" marT="24555" marB="24555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…</a:t>
                      </a:r>
                    </a:p>
                  </a:txBody>
                  <a:tcPr marL="49110" marR="49110" marT="24555" marB="24555"/>
                </a:tc>
                <a:tc>
                  <a:txBody>
                    <a:bodyPr/>
                    <a:lstStyle/>
                    <a:p>
                      <a:r>
                        <a:rPr lang="de-DE" sz="1100" dirty="0" err="1"/>
                        <a:t>false</a:t>
                      </a:r>
                      <a:endParaRPr lang="de-DE" sz="1100" dirty="0"/>
                    </a:p>
                  </a:txBody>
                  <a:tcPr marL="49110" marR="49110" marT="24555" marB="24555"/>
                </a:tc>
                <a:extLst>
                  <a:ext uri="{0D108BD9-81ED-4DB2-BD59-A6C34878D82A}">
                    <a16:rowId xmlns:a16="http://schemas.microsoft.com/office/drawing/2014/main" val="2345750782"/>
                  </a:ext>
                </a:extLst>
              </a:tr>
              <a:tr h="346611">
                <a:tc>
                  <a:txBody>
                    <a:bodyPr/>
                    <a:lstStyle/>
                    <a:p>
                      <a:r>
                        <a:rPr lang="de-DE" sz="1100" dirty="0"/>
                        <a:t>w</a:t>
                      </a:r>
                    </a:p>
                  </a:txBody>
                  <a:tcPr marL="49110" marR="49110" marT="24555" marB="24555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1100" b="1" u="sng" dirty="0"/>
                        <a:t>80</a:t>
                      </a:r>
                    </a:p>
                  </a:txBody>
                  <a:tcPr marL="49110" marR="49110" marT="24555" marB="24555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1100" dirty="0" err="1"/>
                        <a:t>true</a:t>
                      </a:r>
                      <a:endParaRPr lang="de-DE" sz="1100" dirty="0"/>
                    </a:p>
                  </a:txBody>
                  <a:tcPr marL="49110" marR="49110" marT="24555" marB="24555"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2403903"/>
                  </a:ext>
                </a:extLst>
              </a:tr>
            </a:tbl>
          </a:graphicData>
        </a:graphic>
      </p:graphicFrame>
      <p:graphicFrame>
        <p:nvGraphicFramePr>
          <p:cNvPr id="9" name="Tabelle 8">
            <a:extLst>
              <a:ext uri="{FF2B5EF4-FFF2-40B4-BE49-F238E27FC236}">
                <a16:creationId xmlns:a16="http://schemas.microsoft.com/office/drawing/2014/main" id="{CD417375-8D22-08D7-D645-4102502EE87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60188779"/>
              </p:ext>
            </p:extLst>
          </p:nvPr>
        </p:nvGraphicFramePr>
        <p:xfrm>
          <a:off x="5819163" y="2611253"/>
          <a:ext cx="1757746" cy="2827137"/>
        </p:xfrm>
        <a:graphic>
          <a:graphicData uri="http://schemas.openxmlformats.org/drawingml/2006/table">
            <a:tbl>
              <a:tblPr firstRow="1" bandRow="1">
                <a:tableStyleId>{7DF18680-E054-41AD-8BC1-D1AEF772440D}</a:tableStyleId>
              </a:tblPr>
              <a:tblGrid>
                <a:gridCol w="878873">
                  <a:extLst>
                    <a:ext uri="{9D8B030D-6E8A-4147-A177-3AD203B41FA5}">
                      <a16:colId xmlns:a16="http://schemas.microsoft.com/office/drawing/2014/main" val="3984235547"/>
                    </a:ext>
                  </a:extLst>
                </a:gridCol>
                <a:gridCol w="878873">
                  <a:extLst>
                    <a:ext uri="{9D8B030D-6E8A-4147-A177-3AD203B41FA5}">
                      <a16:colId xmlns:a16="http://schemas.microsoft.com/office/drawing/2014/main" val="1072629174"/>
                    </a:ext>
                  </a:extLst>
                </a:gridCol>
              </a:tblGrid>
              <a:tr h="382579">
                <a:tc>
                  <a:txBody>
                    <a:bodyPr/>
                    <a:lstStyle/>
                    <a:p>
                      <a:r>
                        <a:rPr lang="de-DE" sz="1100" dirty="0"/>
                        <a:t>Geschlecht</a:t>
                      </a:r>
                    </a:p>
                  </a:txBody>
                  <a:tcPr marL="49437" marR="49437" marT="24719" marB="24719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Arbeitsstunden </a:t>
                      </a:r>
                    </a:p>
                  </a:txBody>
                  <a:tcPr marL="49437" marR="49437" marT="24719" marB="24719"/>
                </a:tc>
                <a:extLst>
                  <a:ext uri="{0D108BD9-81ED-4DB2-BD59-A6C34878D82A}">
                    <a16:rowId xmlns:a16="http://schemas.microsoft.com/office/drawing/2014/main" val="931524433"/>
                  </a:ext>
                </a:extLst>
              </a:tr>
              <a:tr h="348917">
                <a:tc>
                  <a:txBody>
                    <a:bodyPr/>
                    <a:lstStyle/>
                    <a:p>
                      <a:r>
                        <a:rPr lang="de-DE" sz="1100" dirty="0"/>
                        <a:t>m</a:t>
                      </a:r>
                    </a:p>
                  </a:txBody>
                  <a:tcPr marL="49437" marR="49437" marT="24719" marB="24719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50</a:t>
                      </a:r>
                    </a:p>
                  </a:txBody>
                  <a:tcPr marL="49437" marR="49437" marT="24719" marB="24719"/>
                </a:tc>
                <a:extLst>
                  <a:ext uri="{0D108BD9-81ED-4DB2-BD59-A6C34878D82A}">
                    <a16:rowId xmlns:a16="http://schemas.microsoft.com/office/drawing/2014/main" val="2823732484"/>
                  </a:ext>
                </a:extLst>
              </a:tr>
              <a:tr h="348917">
                <a:tc>
                  <a:txBody>
                    <a:bodyPr/>
                    <a:lstStyle/>
                    <a:p>
                      <a:r>
                        <a:rPr lang="de-DE" sz="1100" dirty="0"/>
                        <a:t>m</a:t>
                      </a:r>
                    </a:p>
                  </a:txBody>
                  <a:tcPr marL="49437" marR="49437" marT="24719" marB="24719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51</a:t>
                      </a:r>
                    </a:p>
                  </a:txBody>
                  <a:tcPr marL="49437" marR="49437" marT="24719" marB="24719"/>
                </a:tc>
                <a:extLst>
                  <a:ext uri="{0D108BD9-81ED-4DB2-BD59-A6C34878D82A}">
                    <a16:rowId xmlns:a16="http://schemas.microsoft.com/office/drawing/2014/main" val="3373951042"/>
                  </a:ext>
                </a:extLst>
              </a:tr>
              <a:tr h="348917">
                <a:tc>
                  <a:txBody>
                    <a:bodyPr/>
                    <a:lstStyle/>
                    <a:p>
                      <a:r>
                        <a:rPr lang="de-DE" sz="1100" dirty="0"/>
                        <a:t>…</a:t>
                      </a:r>
                    </a:p>
                  </a:txBody>
                  <a:tcPr marL="49437" marR="49437" marT="24719" marB="24719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…</a:t>
                      </a:r>
                    </a:p>
                  </a:txBody>
                  <a:tcPr marL="49437" marR="49437" marT="24719" marB="24719"/>
                </a:tc>
                <a:extLst>
                  <a:ext uri="{0D108BD9-81ED-4DB2-BD59-A6C34878D82A}">
                    <a16:rowId xmlns:a16="http://schemas.microsoft.com/office/drawing/2014/main" val="4265644564"/>
                  </a:ext>
                </a:extLst>
              </a:tr>
              <a:tr h="348917">
                <a:tc>
                  <a:txBody>
                    <a:bodyPr/>
                    <a:lstStyle/>
                    <a:p>
                      <a:r>
                        <a:rPr lang="de-DE" sz="1100" dirty="0"/>
                        <a:t>m</a:t>
                      </a:r>
                    </a:p>
                  </a:txBody>
                  <a:tcPr marL="49437" marR="49437" marT="24719" marB="24719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100</a:t>
                      </a:r>
                    </a:p>
                  </a:txBody>
                  <a:tcPr marL="49437" marR="49437" marT="24719" marB="24719"/>
                </a:tc>
                <a:extLst>
                  <a:ext uri="{0D108BD9-81ED-4DB2-BD59-A6C34878D82A}">
                    <a16:rowId xmlns:a16="http://schemas.microsoft.com/office/drawing/2014/main" val="3513294687"/>
                  </a:ext>
                </a:extLst>
              </a:tr>
              <a:tr h="348917">
                <a:tc>
                  <a:txBody>
                    <a:bodyPr/>
                    <a:lstStyle/>
                    <a:p>
                      <a:r>
                        <a:rPr lang="de-DE" sz="1100" dirty="0"/>
                        <a:t>w</a:t>
                      </a:r>
                    </a:p>
                  </a:txBody>
                  <a:tcPr marL="49437" marR="49437" marT="24719" marB="24719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50</a:t>
                      </a:r>
                    </a:p>
                  </a:txBody>
                  <a:tcPr marL="49437" marR="49437" marT="24719" marB="24719"/>
                </a:tc>
                <a:extLst>
                  <a:ext uri="{0D108BD9-81ED-4DB2-BD59-A6C34878D82A}">
                    <a16:rowId xmlns:a16="http://schemas.microsoft.com/office/drawing/2014/main" val="2974351137"/>
                  </a:ext>
                </a:extLst>
              </a:tr>
              <a:tr h="348917">
                <a:tc>
                  <a:txBody>
                    <a:bodyPr/>
                    <a:lstStyle/>
                    <a:p>
                      <a:r>
                        <a:rPr lang="de-DE" sz="1100" dirty="0"/>
                        <a:t>…</a:t>
                      </a:r>
                    </a:p>
                  </a:txBody>
                  <a:tcPr marL="49437" marR="49437" marT="24719" marB="24719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…</a:t>
                      </a:r>
                    </a:p>
                  </a:txBody>
                  <a:tcPr marL="49437" marR="49437" marT="24719" marB="24719"/>
                </a:tc>
                <a:extLst>
                  <a:ext uri="{0D108BD9-81ED-4DB2-BD59-A6C34878D82A}">
                    <a16:rowId xmlns:a16="http://schemas.microsoft.com/office/drawing/2014/main" val="2345750782"/>
                  </a:ext>
                </a:extLst>
              </a:tr>
              <a:tr h="348917">
                <a:tc>
                  <a:txBody>
                    <a:bodyPr/>
                    <a:lstStyle/>
                    <a:p>
                      <a:r>
                        <a:rPr lang="de-DE" sz="1100" dirty="0"/>
                        <a:t>w</a:t>
                      </a:r>
                    </a:p>
                  </a:txBody>
                  <a:tcPr marL="49437" marR="49437" marT="24719" marB="24719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100</a:t>
                      </a:r>
                    </a:p>
                  </a:txBody>
                  <a:tcPr marL="49437" marR="49437" marT="24719" marB="24719"/>
                </a:tc>
                <a:extLst>
                  <a:ext uri="{0D108BD9-81ED-4DB2-BD59-A6C34878D82A}">
                    <a16:rowId xmlns:a16="http://schemas.microsoft.com/office/drawing/2014/main" val="2952403903"/>
                  </a:ext>
                </a:extLst>
              </a:tr>
            </a:tbl>
          </a:graphicData>
        </a:graphic>
      </p:graphicFrame>
      <p:sp>
        <p:nvSpPr>
          <p:cNvPr id="14" name="Pfeil: nach rechts 13">
            <a:extLst>
              <a:ext uri="{FF2B5EF4-FFF2-40B4-BE49-F238E27FC236}">
                <a16:creationId xmlns:a16="http://schemas.microsoft.com/office/drawing/2014/main" id="{858EF3E3-E2D9-9D02-1BFF-B0D35B9A422C}"/>
              </a:ext>
            </a:extLst>
          </p:cNvPr>
          <p:cNvSpPr/>
          <p:nvPr/>
        </p:nvSpPr>
        <p:spPr>
          <a:xfrm>
            <a:off x="5068647" y="4011781"/>
            <a:ext cx="574750" cy="281103"/>
          </a:xfrm>
          <a:prstGeom prst="rightArrow">
            <a:avLst/>
          </a:prstGeom>
          <a:solidFill>
            <a:srgbClr val="C50F3C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180000" tIns="180000" rIns="180000" bIns="180000" rtlCol="0" anchor="ctr"/>
          <a:lstStyle/>
          <a:p>
            <a:pPr marL="0" marR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5" name="Pfeil: nach rechts 14">
            <a:extLst>
              <a:ext uri="{FF2B5EF4-FFF2-40B4-BE49-F238E27FC236}">
                <a16:creationId xmlns:a16="http://schemas.microsoft.com/office/drawing/2014/main" id="{6B65EAA4-E588-6FAF-FD82-F64A9C7C8D72}"/>
              </a:ext>
            </a:extLst>
          </p:cNvPr>
          <p:cNvSpPr/>
          <p:nvPr/>
        </p:nvSpPr>
        <p:spPr>
          <a:xfrm>
            <a:off x="7752674" y="4011780"/>
            <a:ext cx="574750" cy="281103"/>
          </a:xfrm>
          <a:prstGeom prst="rightArrow">
            <a:avLst/>
          </a:prstGeom>
          <a:solidFill>
            <a:srgbClr val="C50F3C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180000" tIns="180000" rIns="180000" bIns="180000" rtlCol="0" anchor="ctr"/>
          <a:lstStyle/>
          <a:p>
            <a:pPr marL="0" marR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7" name="Textfeld 16">
            <a:extLst>
              <a:ext uri="{FF2B5EF4-FFF2-40B4-BE49-F238E27FC236}">
                <a16:creationId xmlns:a16="http://schemas.microsoft.com/office/drawing/2014/main" id="{D7652F75-F251-3F7E-3A83-66307C84ADEF}"/>
              </a:ext>
            </a:extLst>
          </p:cNvPr>
          <p:cNvSpPr txBox="1"/>
          <p:nvPr/>
        </p:nvSpPr>
        <p:spPr>
          <a:xfrm>
            <a:off x="515936" y="5459528"/>
            <a:ext cx="4376945" cy="21858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Zu testende Datensatz</a:t>
            </a:r>
          </a:p>
        </p:txBody>
      </p:sp>
      <p:sp>
        <p:nvSpPr>
          <p:cNvPr id="18" name="Textfeld 17">
            <a:extLst>
              <a:ext uri="{FF2B5EF4-FFF2-40B4-BE49-F238E27FC236}">
                <a16:creationId xmlns:a16="http://schemas.microsoft.com/office/drawing/2014/main" id="{9FDE7077-F09D-71A6-C27C-531F269B31AF}"/>
              </a:ext>
            </a:extLst>
          </p:cNvPr>
          <p:cNvSpPr txBox="1"/>
          <p:nvPr/>
        </p:nvSpPr>
        <p:spPr>
          <a:xfrm>
            <a:off x="5819163" y="5473029"/>
            <a:ext cx="1757746" cy="45557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atensatz mit allen möglichen Einträgen</a:t>
            </a:r>
          </a:p>
        </p:txBody>
      </p:sp>
      <p:sp>
        <p:nvSpPr>
          <p:cNvPr id="19" name="Textfeld 18">
            <a:extLst>
              <a:ext uri="{FF2B5EF4-FFF2-40B4-BE49-F238E27FC236}">
                <a16:creationId xmlns:a16="http://schemas.microsoft.com/office/drawing/2014/main" id="{2797B6A2-1DBB-36CE-3F0E-6184B964B485}"/>
              </a:ext>
            </a:extLst>
          </p:cNvPr>
          <p:cNvSpPr txBox="1"/>
          <p:nvPr/>
        </p:nvSpPr>
        <p:spPr>
          <a:xfrm>
            <a:off x="8503189" y="5511831"/>
            <a:ext cx="2619197" cy="45557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atensatz mit allen möglichen Einträgen + Entscheidungsspalte</a:t>
            </a:r>
          </a:p>
        </p:txBody>
      </p:sp>
    </p:spTree>
    <p:extLst>
      <p:ext uri="{BB962C8B-B14F-4D97-AF65-F5344CB8AC3E}">
        <p14:creationId xmlns:p14="http://schemas.microsoft.com/office/powerpoint/2010/main" val="2117457139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itel 20">
            <a:extLst>
              <a:ext uri="{FF2B5EF4-FFF2-40B4-BE49-F238E27FC236}">
                <a16:creationId xmlns:a16="http://schemas.microsoft.com/office/drawing/2014/main" id="{3018BD05-96D8-43F2-A6AA-CC40E7C32CC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8318" y="3152001"/>
            <a:ext cx="11157743" cy="553998"/>
          </a:xfrm>
        </p:spPr>
        <p:txBody>
          <a:bodyPr/>
          <a:lstStyle/>
          <a:p>
            <a:r>
              <a:rPr lang="de-DE" dirty="0"/>
              <a:t>5. Experimente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FE7214E1-5D14-4D0B-BADD-2E239FECEC1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29D632-EE07-48FA-B475-B0D49CBC7F92}" type="datetime4">
              <a:rPr lang="de-DE" smtClean="0"/>
              <a:pPr/>
              <a:t>19. Dezember 2022</a:t>
            </a:fld>
            <a:endParaRPr lang="de-DE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6A6AD034-0F65-47AF-9CAA-C4B0CEB30D4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Philippe Huber, </a:t>
            </a:r>
            <a:r>
              <a:rPr lang="de-DE" b="1" dirty="0"/>
              <a:t>Rene Jokiel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0F7E098-F740-40F7-A085-7034627D914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1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46759775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A351964-2BB6-97F3-6B22-336C556741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89B0C6-E378-43D9-87B6-F295F13B6DA2}" type="datetime4">
              <a:rPr lang="de-DE" smtClean="0"/>
              <a:t>19. Dezember 2022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408DCD8-0AA7-E516-1759-8D23827820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Philippe Huber, </a:t>
            </a:r>
            <a:r>
              <a:rPr lang="de-DE" b="1" dirty="0"/>
              <a:t>Rene Jokiel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CC781B4-8E2A-7EAA-0553-BD86241E8C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18</a:t>
            </a:fld>
            <a:endParaRPr lang="de-DE"/>
          </a:p>
        </p:txBody>
      </p:sp>
      <p:sp>
        <p:nvSpPr>
          <p:cNvPr id="2" name="Textplatzhalter 1">
            <a:extLst>
              <a:ext uri="{FF2B5EF4-FFF2-40B4-BE49-F238E27FC236}">
                <a16:creationId xmlns:a16="http://schemas.microsoft.com/office/drawing/2014/main" id="{59DE7A27-14AD-4004-2A27-E615802DFDA4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/>
        <p:txBody>
          <a:bodyPr/>
          <a:lstStyle/>
          <a:p>
            <a:r>
              <a:rPr lang="de-DE" sz="1800" u="sng" dirty="0"/>
              <a:t>1. Datensatz mit bekannten </a:t>
            </a:r>
            <a:r>
              <a:rPr lang="de-DE" sz="1800" u="sng" dirty="0" err="1"/>
              <a:t>Biases</a:t>
            </a:r>
            <a:endParaRPr lang="de-DE" sz="1800" u="sng" dirty="0"/>
          </a:p>
          <a:p>
            <a:r>
              <a:rPr lang="de-DE" sz="1400" dirty="0"/>
              <a:t>Der Datensatz wird dem Artefakt mit dem benötigten Kontext übergeben, das Ergebnis des Artefakts wird mit dem Metawissen über den Datensatz verglichen.</a:t>
            </a:r>
          </a:p>
          <a:p>
            <a:r>
              <a:rPr lang="de-DE" sz="1400" dirty="0"/>
              <a:t>Bsp. Wenn ein Datensatz Frauen bei Beförderungen benachteiligen sollte, wir überprüft, ob das Artefakt das auch herausfinden kann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562E0F8F-00E0-2826-FBFA-E6581884CC87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141A52E9-C3AF-262C-EBCF-F1578441CF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Insgesamt werden 3 verschiedene Experimentarten durchgeführt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729D91F5-AF69-2294-FA98-A806524F9A0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Experimentarten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83C1BF3B-BEAC-C014-D807-B06F45FFBF2D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/>
        <p:txBody>
          <a:bodyPr/>
          <a:lstStyle/>
          <a:p>
            <a:r>
              <a:rPr lang="de-DE" sz="1800" u="sng" dirty="0"/>
              <a:t>2. Datensatz mit bekannten </a:t>
            </a:r>
            <a:r>
              <a:rPr lang="de-DE" sz="1800" u="sng" dirty="0" err="1"/>
              <a:t>Biases</a:t>
            </a:r>
            <a:r>
              <a:rPr lang="de-DE" sz="1800" u="sng" dirty="0"/>
              <a:t> und bereinigte Version des Datensatzes</a:t>
            </a:r>
          </a:p>
          <a:p>
            <a:r>
              <a:rPr lang="de-DE" sz="1400" dirty="0"/>
              <a:t>Gleiches Prozedere wie bei der ersten Art, aber darauffolgend wird dem Artefakt noch eine bereinigte Version von dem Datensatz übergeben. Die beiden Ergebnisse werden danach verglichen.</a:t>
            </a:r>
          </a:p>
          <a:p>
            <a:r>
              <a:rPr lang="de-DE" sz="1400" dirty="0"/>
              <a:t>Bsp. Wenn ein Datensatz Frauen benachteiligt, der bereinigte Datensatz benachteiligt Frauen nicht mehr. Das Artefakt sollte bei beiden Datensätzen nicht das selbe Ergebnis liefern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E9A932B5-760B-69D3-280A-45479359BD4D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/>
        <p:txBody>
          <a:bodyPr/>
          <a:lstStyle/>
          <a:p>
            <a:r>
              <a:rPr lang="de-DE" sz="1800" u="sng" dirty="0"/>
              <a:t>3. Datensatz ohne bekannten Bias</a:t>
            </a:r>
          </a:p>
          <a:p>
            <a:r>
              <a:rPr lang="de-DE" sz="1400" dirty="0"/>
              <a:t>Gleicher Ablauf wie bei der ersten Art, nur sind keine Metainformationen vorhanden. Die Ergebnisse werden dann erfasst.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182649975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F39906C2-6025-E2F7-0371-BB94EECE2FC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B15DED9-9AF1-49E6-842A-BFCE5BF99E9D}" type="datetime4">
              <a:rPr lang="de-DE" smtClean="0"/>
              <a:t>19. Dezember 2022</a:t>
            </a:fld>
            <a:endParaRPr lang="de-DE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A905B58A-073C-F6BA-EB19-03190B59ABD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15937" y="6634666"/>
            <a:ext cx="9574509" cy="123111"/>
          </a:xfrm>
        </p:spPr>
        <p:txBody>
          <a:bodyPr/>
          <a:lstStyle/>
          <a:p>
            <a:r>
              <a:rPr lang="de-DE" dirty="0"/>
              <a:t>Philippe Huber, </a:t>
            </a:r>
            <a:r>
              <a:rPr lang="de-DE" b="1" dirty="0"/>
              <a:t>Rene </a:t>
            </a:r>
            <a:r>
              <a:rPr lang="de-DE" b="1" dirty="0" err="1"/>
              <a:t>Jokiel</a:t>
            </a:r>
            <a:endParaRPr lang="de-DE" b="1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F17EF73-399D-0059-4FC0-6586625F48E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19</a:t>
            </a:fld>
            <a:endParaRPr lang="de-DE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A68230CC-D21F-BCDE-CFF2-9CB67D9ED100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Titel 6">
            <a:extLst>
              <a:ext uri="{FF2B5EF4-FFF2-40B4-BE49-F238E27FC236}">
                <a16:creationId xmlns:a16="http://schemas.microsoft.com/office/drawing/2014/main" id="{2673039A-069E-EF08-CCAD-FC1692DB88A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Insgesamt werden 3 verschiedene Experimentarten durchgeführt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E89C2102-9E8E-1A85-731D-1C8BF240E82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Experimentarten</a:t>
            </a:r>
          </a:p>
        </p:txBody>
      </p:sp>
      <p:graphicFrame>
        <p:nvGraphicFramePr>
          <p:cNvPr id="12" name="Diagramm 11">
            <a:extLst>
              <a:ext uri="{FF2B5EF4-FFF2-40B4-BE49-F238E27FC236}">
                <a16:creationId xmlns:a16="http://schemas.microsoft.com/office/drawing/2014/main" id="{5F4D04F3-E56C-C45C-C41F-46D6426F29B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375663671"/>
              </p:ext>
            </p:extLst>
          </p:nvPr>
        </p:nvGraphicFramePr>
        <p:xfrm>
          <a:off x="515937" y="1549746"/>
          <a:ext cx="11157742" cy="478359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136270581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21D4C28D-2E53-7C81-9018-F3C4A48D51F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4F31EF-6EA6-4A24-8992-69DC7A69151C}" type="datetime4">
              <a:rPr lang="de-DE" smtClean="0"/>
              <a:t>19. Dezember 2022</a:t>
            </a:fld>
            <a:endParaRPr lang="de-DE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40529BE8-B3E7-6F8E-75C5-E65F23C88A6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Wirtschafts- und Sozialwissenschaften | WiSo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6EB0CA80-A177-60A5-F0A8-6410CA27F9C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2</a:t>
            </a:fld>
            <a:endParaRPr lang="de-DE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CF87EB5A-FD3F-8C3E-33D0-00BA8FFB2F2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de-DE" dirty="0"/>
              <a:t>Stand der Wissenschaft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C612314F-BD31-EFD7-402A-509482CD85C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de-DE" dirty="0"/>
              <a:t>2.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07FE7A72-F751-9E00-F109-616FB85D851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/>
              <a:t>Experimente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0D5C2863-C71D-B54E-19B5-D17F07F19B3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de-DE" dirty="0"/>
              <a:t>5.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C805D365-DE8E-51EA-0018-845BD65916A0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r>
              <a:rPr lang="de-DE" dirty="0"/>
              <a:t>Forschungsfrage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9A72ECE4-D1A1-A160-3513-79025AA1E3C7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r>
              <a:rPr lang="de-DE" dirty="0"/>
              <a:t>3.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42CCD047-C9CF-DCCE-4429-9D77B6E35963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r>
              <a:rPr lang="de-DE" dirty="0"/>
              <a:t>Artefakt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199FB67-9CB1-EBFC-4E29-18ED1CC8C748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/>
        <p:txBody>
          <a:bodyPr/>
          <a:lstStyle/>
          <a:p>
            <a:r>
              <a:rPr lang="de-DE" dirty="0"/>
              <a:t>4.</a:t>
            </a:r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61BFF1B8-E9E4-E9E0-8DD0-7541652E22D1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r>
              <a:rPr lang="de-DE" dirty="0"/>
              <a:t>Nächste Schritte</a:t>
            </a:r>
          </a:p>
          <a:p>
            <a:endParaRPr lang="de-DE" dirty="0"/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C92B3A9C-FA8A-CCA1-1A08-C69E4B59D01B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/>
        <p:txBody>
          <a:bodyPr/>
          <a:lstStyle/>
          <a:p>
            <a:r>
              <a:rPr lang="de-DE" dirty="0"/>
              <a:t>6.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EF861F90-634E-8C85-1B42-5E330A183E67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2BA697FB-7A87-3639-651E-7556D351D39F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EE637F4E-34B0-A4A0-2810-12AB19531783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8" name="Textplatzhalter 17">
            <a:extLst>
              <a:ext uri="{FF2B5EF4-FFF2-40B4-BE49-F238E27FC236}">
                <a16:creationId xmlns:a16="http://schemas.microsoft.com/office/drawing/2014/main" id="{D1F56FD9-A107-74EB-35C3-72B4F7CEFBB2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9" name="Textplatzhalter 18">
            <a:extLst>
              <a:ext uri="{FF2B5EF4-FFF2-40B4-BE49-F238E27FC236}">
                <a16:creationId xmlns:a16="http://schemas.microsoft.com/office/drawing/2014/main" id="{BC8D2C56-7C56-D2F3-299B-67F7DC5B64E4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20" name="Textplatzhalter 19">
            <a:extLst>
              <a:ext uri="{FF2B5EF4-FFF2-40B4-BE49-F238E27FC236}">
                <a16:creationId xmlns:a16="http://schemas.microsoft.com/office/drawing/2014/main" id="{0AD5ED97-9F11-D019-2596-9B72F8308172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21" name="Textplatzhalter 20">
            <a:extLst>
              <a:ext uri="{FF2B5EF4-FFF2-40B4-BE49-F238E27FC236}">
                <a16:creationId xmlns:a16="http://schemas.microsoft.com/office/drawing/2014/main" id="{F3ED5742-F501-AF35-1039-C509D6A26F81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22" name="Textplatzhalter 21">
            <a:extLst>
              <a:ext uri="{FF2B5EF4-FFF2-40B4-BE49-F238E27FC236}">
                <a16:creationId xmlns:a16="http://schemas.microsoft.com/office/drawing/2014/main" id="{6987888D-70C8-6966-6A32-DC7F46E8EB70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23" name="Textplatzhalter 22">
            <a:extLst>
              <a:ext uri="{FF2B5EF4-FFF2-40B4-BE49-F238E27FC236}">
                <a16:creationId xmlns:a16="http://schemas.microsoft.com/office/drawing/2014/main" id="{6114C7F6-7916-1BD3-B429-B6769D9FA68A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24" name="Textplatzhalter 23">
            <a:extLst>
              <a:ext uri="{FF2B5EF4-FFF2-40B4-BE49-F238E27FC236}">
                <a16:creationId xmlns:a16="http://schemas.microsoft.com/office/drawing/2014/main" id="{1708C651-06CC-8BA5-C401-7ACFC143A607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25" name="Textplatzhalter 24">
            <a:extLst>
              <a:ext uri="{FF2B5EF4-FFF2-40B4-BE49-F238E27FC236}">
                <a16:creationId xmlns:a16="http://schemas.microsoft.com/office/drawing/2014/main" id="{417CBE31-DA95-4448-0CB2-E7FE8FFAC0C3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26" name="Textplatzhalter 25">
            <a:extLst>
              <a:ext uri="{FF2B5EF4-FFF2-40B4-BE49-F238E27FC236}">
                <a16:creationId xmlns:a16="http://schemas.microsoft.com/office/drawing/2014/main" id="{19A3FC57-30F2-10E8-6326-FC886F75ED2D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27" name="Titel 26">
            <a:extLst>
              <a:ext uri="{FF2B5EF4-FFF2-40B4-BE49-F238E27FC236}">
                <a16:creationId xmlns:a16="http://schemas.microsoft.com/office/drawing/2014/main" id="{9C2085C7-3F89-C998-07CB-68D4137CBBD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genda</a:t>
            </a:r>
          </a:p>
        </p:txBody>
      </p:sp>
      <p:sp>
        <p:nvSpPr>
          <p:cNvPr id="28" name="Textplatzhalter 27">
            <a:extLst>
              <a:ext uri="{FF2B5EF4-FFF2-40B4-BE49-F238E27FC236}">
                <a16:creationId xmlns:a16="http://schemas.microsoft.com/office/drawing/2014/main" id="{C384772B-B2B9-B042-FBC1-1B28F24901F1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/>
        <p:txBody>
          <a:bodyPr/>
          <a:lstStyle/>
          <a:p>
            <a:r>
              <a:rPr lang="de-DE" dirty="0"/>
              <a:t>Zwischenpräsentation</a:t>
            </a:r>
          </a:p>
        </p:txBody>
      </p:sp>
      <p:sp>
        <p:nvSpPr>
          <p:cNvPr id="29" name="Textplatzhalter 28">
            <a:extLst>
              <a:ext uri="{FF2B5EF4-FFF2-40B4-BE49-F238E27FC236}">
                <a16:creationId xmlns:a16="http://schemas.microsoft.com/office/drawing/2014/main" id="{94A1D7C7-9989-30F4-F7C8-81B04DE00E9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Problem</a:t>
            </a:r>
          </a:p>
        </p:txBody>
      </p:sp>
      <p:sp>
        <p:nvSpPr>
          <p:cNvPr id="30" name="Textplatzhalter 29">
            <a:extLst>
              <a:ext uri="{FF2B5EF4-FFF2-40B4-BE49-F238E27FC236}">
                <a16:creationId xmlns:a16="http://schemas.microsoft.com/office/drawing/2014/main" id="{C1F84E59-CB57-F365-7715-31B5D0CED08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e-DE" dirty="0"/>
              <a:t>1.</a:t>
            </a:r>
          </a:p>
        </p:txBody>
      </p:sp>
    </p:spTree>
    <p:extLst>
      <p:ext uri="{BB962C8B-B14F-4D97-AF65-F5344CB8AC3E}">
        <p14:creationId xmlns:p14="http://schemas.microsoft.com/office/powerpoint/2010/main" val="4233991641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itel 20">
            <a:extLst>
              <a:ext uri="{FF2B5EF4-FFF2-40B4-BE49-F238E27FC236}">
                <a16:creationId xmlns:a16="http://schemas.microsoft.com/office/drawing/2014/main" id="{3018BD05-96D8-43F2-A6AA-CC40E7C32CC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8318" y="3152001"/>
            <a:ext cx="11157743" cy="553998"/>
          </a:xfrm>
        </p:spPr>
        <p:txBody>
          <a:bodyPr/>
          <a:lstStyle/>
          <a:p>
            <a:r>
              <a:rPr lang="de-DE" dirty="0"/>
              <a:t>6. Nächste Schritte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FE7214E1-5D14-4D0B-BADD-2E239FECEC1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29D632-EE07-48FA-B475-B0D49CBC7F92}" type="datetime4">
              <a:rPr lang="de-DE" smtClean="0"/>
              <a:pPr/>
              <a:t>19. Dezember 2022</a:t>
            </a:fld>
            <a:endParaRPr lang="de-DE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6A6AD034-0F65-47AF-9CAA-C4B0CEB30D4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b="1" dirty="0"/>
              <a:t>Philippe Huber</a:t>
            </a:r>
            <a:r>
              <a:rPr lang="de-DE" dirty="0"/>
              <a:t>, Rene Jokiel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0F7E098-F740-40F7-A085-7034627D914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2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22162571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A351964-2BB6-97F3-6B22-336C556741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89B0C6-E378-43D9-87B6-F295F13B6DA2}" type="datetime4">
              <a:rPr lang="de-DE" smtClean="0"/>
              <a:t>19. Dezember 2022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408DCD8-0AA7-E516-1759-8D23827820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b="1" dirty="0"/>
              <a:t>Philippe Huber</a:t>
            </a:r>
            <a:r>
              <a:rPr lang="de-DE" dirty="0"/>
              <a:t>, Rene Jokiel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CC781B4-8E2A-7EAA-0553-BD86241E8C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21</a:t>
            </a:fld>
            <a:endParaRPr lang="de-DE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141A52E9-C3AF-262C-EBCF-F1578441CF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ie Entwicklung des Artefaktes ist der unmittelbare nächste Schritt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729D91F5-AF69-2294-FA98-A806524F9A0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Nächsten Schritte</a:t>
            </a:r>
          </a:p>
        </p:txBody>
      </p:sp>
      <p:grpSp>
        <p:nvGrpSpPr>
          <p:cNvPr id="35" name="Gruppieren 34">
            <a:extLst>
              <a:ext uri="{FF2B5EF4-FFF2-40B4-BE49-F238E27FC236}">
                <a16:creationId xmlns:a16="http://schemas.microsoft.com/office/drawing/2014/main" id="{58229E8D-80F3-2596-69C4-29C410B8EA36}"/>
              </a:ext>
            </a:extLst>
          </p:cNvPr>
          <p:cNvGrpSpPr/>
          <p:nvPr/>
        </p:nvGrpSpPr>
        <p:grpSpPr>
          <a:xfrm>
            <a:off x="564166" y="3251743"/>
            <a:ext cx="11063667" cy="797040"/>
            <a:chOff x="612396" y="3535546"/>
            <a:chExt cx="11063667" cy="797040"/>
          </a:xfrm>
        </p:grpSpPr>
        <p:cxnSp>
          <p:nvCxnSpPr>
            <p:cNvPr id="21" name="Gerade Verbindung mit Pfeil 20">
              <a:extLst>
                <a:ext uri="{FF2B5EF4-FFF2-40B4-BE49-F238E27FC236}">
                  <a16:creationId xmlns:a16="http://schemas.microsoft.com/office/drawing/2014/main" id="{7790DA9B-BCE9-D2CB-BB67-79B79F886AAE}"/>
                </a:ext>
              </a:extLst>
            </p:cNvPr>
            <p:cNvCxnSpPr>
              <a:cxnSpLocks/>
            </p:cNvCxnSpPr>
            <p:nvPr/>
          </p:nvCxnSpPr>
          <p:spPr>
            <a:xfrm>
              <a:off x="612396" y="3942826"/>
              <a:ext cx="11063667" cy="0"/>
            </a:xfrm>
            <a:prstGeom prst="straightConnector1">
              <a:avLst/>
            </a:prstGeom>
            <a:ln w="57150">
              <a:solidFill>
                <a:srgbClr val="C50F3C"/>
              </a:solidFill>
              <a:tailEnd type="triangle"/>
            </a:ln>
          </p:spPr>
          <p:style>
            <a:lnRef idx="1">
              <a:schemeClr val="accent3"/>
            </a:lnRef>
            <a:fillRef idx="0">
              <a:schemeClr val="accent3"/>
            </a:fillRef>
            <a:effectRef idx="0">
              <a:schemeClr val="accent3"/>
            </a:effectRef>
            <a:fontRef idx="minor">
              <a:schemeClr val="tx1"/>
            </a:fontRef>
          </p:style>
        </p:cxnSp>
        <p:sp>
          <p:nvSpPr>
            <p:cNvPr id="23" name="Rechteck 22">
              <a:extLst>
                <a:ext uri="{FF2B5EF4-FFF2-40B4-BE49-F238E27FC236}">
                  <a16:creationId xmlns:a16="http://schemas.microsoft.com/office/drawing/2014/main" id="{19C97860-4F65-FE5E-0536-70DF6709F518}"/>
                </a:ext>
              </a:extLst>
            </p:cNvPr>
            <p:cNvSpPr/>
            <p:nvPr/>
          </p:nvSpPr>
          <p:spPr>
            <a:xfrm>
              <a:off x="1181450" y="3570586"/>
              <a:ext cx="1523650" cy="76200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180000" tIns="180000" rIns="180000" bIns="180000" rtlCol="0" anchor="ctr"/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16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Entwicklung des Artefaktes</a:t>
              </a:r>
            </a:p>
          </p:txBody>
        </p:sp>
        <p:sp>
          <p:nvSpPr>
            <p:cNvPr id="31" name="Rechteck 30">
              <a:extLst>
                <a:ext uri="{FF2B5EF4-FFF2-40B4-BE49-F238E27FC236}">
                  <a16:creationId xmlns:a16="http://schemas.microsoft.com/office/drawing/2014/main" id="{AE98B4C6-F5D1-E47D-43FF-58BB231A4374}"/>
                </a:ext>
              </a:extLst>
            </p:cNvPr>
            <p:cNvSpPr/>
            <p:nvPr/>
          </p:nvSpPr>
          <p:spPr>
            <a:xfrm>
              <a:off x="3274154" y="3561826"/>
              <a:ext cx="1523650" cy="76200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180000" tIns="180000" rIns="180000" bIns="180000" rtlCol="0" anchor="ctr"/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lang="de-DE" sz="1600" dirty="0">
                  <a:solidFill>
                    <a:schemeClr val="bg1"/>
                  </a:solidFill>
                  <a:latin typeface="Arial"/>
                </a:rPr>
                <a:t>Experiment 1</a:t>
              </a:r>
              <a:endPara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2" name="Rechteck 31">
              <a:extLst>
                <a:ext uri="{FF2B5EF4-FFF2-40B4-BE49-F238E27FC236}">
                  <a16:creationId xmlns:a16="http://schemas.microsoft.com/office/drawing/2014/main" id="{02E1C985-BA9F-77CD-EE24-2617C988852D}"/>
                </a:ext>
              </a:extLst>
            </p:cNvPr>
            <p:cNvSpPr/>
            <p:nvPr/>
          </p:nvSpPr>
          <p:spPr>
            <a:xfrm>
              <a:off x="5366858" y="3553066"/>
              <a:ext cx="1523650" cy="76200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180000" tIns="180000" rIns="180000" bIns="180000" rtlCol="0" anchor="ctr"/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16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Experiment 2</a:t>
              </a:r>
            </a:p>
          </p:txBody>
        </p:sp>
        <p:sp>
          <p:nvSpPr>
            <p:cNvPr id="33" name="Rechteck 32">
              <a:extLst>
                <a:ext uri="{FF2B5EF4-FFF2-40B4-BE49-F238E27FC236}">
                  <a16:creationId xmlns:a16="http://schemas.microsoft.com/office/drawing/2014/main" id="{06AFE7F3-7B8F-CF4E-1D40-4AAA2FD9BE32}"/>
                </a:ext>
              </a:extLst>
            </p:cNvPr>
            <p:cNvSpPr/>
            <p:nvPr/>
          </p:nvSpPr>
          <p:spPr>
            <a:xfrm>
              <a:off x="7459562" y="3544306"/>
              <a:ext cx="1523650" cy="76200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180000" tIns="180000" rIns="180000" bIns="180000" rtlCol="0" anchor="ctr"/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16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Experiment 3</a:t>
              </a:r>
            </a:p>
          </p:txBody>
        </p:sp>
        <p:sp>
          <p:nvSpPr>
            <p:cNvPr id="34" name="Rechteck 33">
              <a:extLst>
                <a:ext uri="{FF2B5EF4-FFF2-40B4-BE49-F238E27FC236}">
                  <a16:creationId xmlns:a16="http://schemas.microsoft.com/office/drawing/2014/main" id="{7FBCE997-9234-CB10-579A-186E71222A99}"/>
                </a:ext>
              </a:extLst>
            </p:cNvPr>
            <p:cNvSpPr/>
            <p:nvPr/>
          </p:nvSpPr>
          <p:spPr>
            <a:xfrm>
              <a:off x="9552266" y="3535546"/>
              <a:ext cx="1523650" cy="76200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180000" tIns="180000" rIns="180000" bIns="180000" rtlCol="0" anchor="ctr"/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16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Auswertung der Experiment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832064429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A351964-2BB6-97F3-6B22-336C556741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89B0C6-E378-43D9-87B6-F295F13B6DA2}" type="datetime4">
              <a:rPr lang="de-DE" smtClean="0"/>
              <a:t>19. Dezember 2022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408DCD8-0AA7-E516-1759-8D23827820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b="1" dirty="0"/>
              <a:t>Philippe Huber</a:t>
            </a:r>
            <a:r>
              <a:rPr lang="de-DE" dirty="0"/>
              <a:t>, Rene Jokiel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CC781B4-8E2A-7EAA-0553-BD86241E8C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22</a:t>
            </a:fld>
            <a:endParaRPr lang="de-DE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141A52E9-C3AF-262C-EBCF-F1578441CF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ie Entwicklung des Artefaktes ist der unmittelbare nächste Schritt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729D91F5-AF69-2294-FA98-A806524F9A0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Nächsten Schritte</a:t>
            </a:r>
          </a:p>
        </p:txBody>
      </p:sp>
      <p:grpSp>
        <p:nvGrpSpPr>
          <p:cNvPr id="24" name="Gruppieren 23">
            <a:extLst>
              <a:ext uri="{FF2B5EF4-FFF2-40B4-BE49-F238E27FC236}">
                <a16:creationId xmlns:a16="http://schemas.microsoft.com/office/drawing/2014/main" id="{279EAA55-25BF-5E81-1BEF-8EA2DBB3765D}"/>
              </a:ext>
            </a:extLst>
          </p:cNvPr>
          <p:cNvGrpSpPr/>
          <p:nvPr/>
        </p:nvGrpSpPr>
        <p:grpSpPr>
          <a:xfrm>
            <a:off x="564166" y="3251743"/>
            <a:ext cx="11063667" cy="1926608"/>
            <a:chOff x="564166" y="3251743"/>
            <a:chExt cx="11063667" cy="1926608"/>
          </a:xfrm>
        </p:grpSpPr>
        <p:grpSp>
          <p:nvGrpSpPr>
            <p:cNvPr id="35" name="Gruppieren 34">
              <a:extLst>
                <a:ext uri="{FF2B5EF4-FFF2-40B4-BE49-F238E27FC236}">
                  <a16:creationId xmlns:a16="http://schemas.microsoft.com/office/drawing/2014/main" id="{58229E8D-80F3-2596-69C4-29C410B8EA36}"/>
                </a:ext>
              </a:extLst>
            </p:cNvPr>
            <p:cNvGrpSpPr/>
            <p:nvPr/>
          </p:nvGrpSpPr>
          <p:grpSpPr>
            <a:xfrm>
              <a:off x="564166" y="3251743"/>
              <a:ext cx="11063667" cy="797040"/>
              <a:chOff x="612396" y="3535546"/>
              <a:chExt cx="11063667" cy="797040"/>
            </a:xfrm>
          </p:grpSpPr>
          <p:cxnSp>
            <p:nvCxnSpPr>
              <p:cNvPr id="21" name="Gerade Verbindung mit Pfeil 20">
                <a:extLst>
                  <a:ext uri="{FF2B5EF4-FFF2-40B4-BE49-F238E27FC236}">
                    <a16:creationId xmlns:a16="http://schemas.microsoft.com/office/drawing/2014/main" id="{7790DA9B-BCE9-D2CB-BB67-79B79F886AAE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612396" y="3942826"/>
                <a:ext cx="11063667" cy="0"/>
              </a:xfrm>
              <a:prstGeom prst="straightConnector1">
                <a:avLst/>
              </a:prstGeom>
              <a:ln w="57150">
                <a:solidFill>
                  <a:srgbClr val="C50F3C"/>
                </a:solidFill>
                <a:tailEnd type="triangle"/>
              </a:ln>
            </p:spPr>
            <p:style>
              <a:lnRef idx="1">
                <a:schemeClr val="accent3"/>
              </a:lnRef>
              <a:fillRef idx="0">
                <a:schemeClr val="accent3"/>
              </a:fillRef>
              <a:effectRef idx="0">
                <a:schemeClr val="accent3"/>
              </a:effectRef>
              <a:fontRef idx="minor">
                <a:schemeClr val="tx1"/>
              </a:fontRef>
            </p:style>
          </p:cxnSp>
          <p:sp>
            <p:nvSpPr>
              <p:cNvPr id="23" name="Rechteck 22">
                <a:extLst>
                  <a:ext uri="{FF2B5EF4-FFF2-40B4-BE49-F238E27FC236}">
                    <a16:creationId xmlns:a16="http://schemas.microsoft.com/office/drawing/2014/main" id="{19C97860-4F65-FE5E-0536-70DF6709F518}"/>
                  </a:ext>
                </a:extLst>
              </p:cNvPr>
              <p:cNvSpPr/>
              <p:nvPr/>
            </p:nvSpPr>
            <p:spPr>
              <a:xfrm>
                <a:off x="1181450" y="3570586"/>
                <a:ext cx="1523650" cy="762000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lIns="180000" tIns="180000" rIns="180000" bIns="180000" rtlCol="0" anchor="ctr"/>
              <a:lstStyle/>
              <a:p>
                <a:pPr marL="0" marR="0" indent="0" algn="ctr" defTabSz="914400" rtl="0" eaLnBrk="1" fontAlgn="auto" latinLnBrk="0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1200"/>
                  </a:spcAft>
                  <a:buClrTx/>
                  <a:buSzTx/>
                  <a:buFont typeface="Arial" panose="020B0604020202020204" pitchFamily="34" charset="0"/>
                  <a:buNone/>
                  <a:tabLst/>
                </a:pPr>
                <a:r>
                  <a:rPr kumimoji="0" lang="de-DE" sz="16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Entwicklung des Artefaktes</a:t>
                </a:r>
              </a:p>
            </p:txBody>
          </p:sp>
          <p:sp>
            <p:nvSpPr>
              <p:cNvPr id="31" name="Rechteck 30">
                <a:extLst>
                  <a:ext uri="{FF2B5EF4-FFF2-40B4-BE49-F238E27FC236}">
                    <a16:creationId xmlns:a16="http://schemas.microsoft.com/office/drawing/2014/main" id="{AE98B4C6-F5D1-E47D-43FF-58BB231A4374}"/>
                  </a:ext>
                </a:extLst>
              </p:cNvPr>
              <p:cNvSpPr/>
              <p:nvPr/>
            </p:nvSpPr>
            <p:spPr>
              <a:xfrm>
                <a:off x="3274154" y="3561826"/>
                <a:ext cx="1523650" cy="762000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lIns="180000" tIns="180000" rIns="180000" bIns="180000" rtlCol="0" anchor="ctr"/>
              <a:lstStyle/>
              <a:p>
                <a:pPr marL="0" marR="0" indent="0" algn="ctr" defTabSz="914400" rtl="0" eaLnBrk="1" fontAlgn="auto" latinLnBrk="0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1200"/>
                  </a:spcAft>
                  <a:buClrTx/>
                  <a:buSzTx/>
                  <a:buFont typeface="Arial" panose="020B0604020202020204" pitchFamily="34" charset="0"/>
                  <a:buNone/>
                  <a:tabLst/>
                </a:pPr>
                <a:r>
                  <a:rPr lang="de-DE" sz="1600" dirty="0">
                    <a:solidFill>
                      <a:schemeClr val="bg1"/>
                    </a:solidFill>
                    <a:latin typeface="Arial"/>
                  </a:rPr>
                  <a:t>Experiment 1</a:t>
                </a:r>
                <a:endParaRPr kumimoji="0" lang="de-DE" sz="16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2" name="Rechteck 31">
                <a:extLst>
                  <a:ext uri="{FF2B5EF4-FFF2-40B4-BE49-F238E27FC236}">
                    <a16:creationId xmlns:a16="http://schemas.microsoft.com/office/drawing/2014/main" id="{02E1C985-BA9F-77CD-EE24-2617C988852D}"/>
                  </a:ext>
                </a:extLst>
              </p:cNvPr>
              <p:cNvSpPr/>
              <p:nvPr/>
            </p:nvSpPr>
            <p:spPr>
              <a:xfrm>
                <a:off x="5366858" y="3553066"/>
                <a:ext cx="1523650" cy="762000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lIns="180000" tIns="180000" rIns="180000" bIns="180000" rtlCol="0" anchor="ctr"/>
              <a:lstStyle/>
              <a:p>
                <a:pPr marL="0" marR="0" indent="0" algn="ctr" defTabSz="914400" rtl="0" eaLnBrk="1" fontAlgn="auto" latinLnBrk="0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1200"/>
                  </a:spcAft>
                  <a:buClrTx/>
                  <a:buSzTx/>
                  <a:buFont typeface="Arial" panose="020B0604020202020204" pitchFamily="34" charset="0"/>
                  <a:buNone/>
                  <a:tabLst/>
                </a:pPr>
                <a:r>
                  <a:rPr kumimoji="0" lang="de-DE" sz="16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Experiment 2</a:t>
                </a:r>
              </a:p>
            </p:txBody>
          </p:sp>
          <p:sp>
            <p:nvSpPr>
              <p:cNvPr id="33" name="Rechteck 32">
                <a:extLst>
                  <a:ext uri="{FF2B5EF4-FFF2-40B4-BE49-F238E27FC236}">
                    <a16:creationId xmlns:a16="http://schemas.microsoft.com/office/drawing/2014/main" id="{06AFE7F3-7B8F-CF4E-1D40-4AAA2FD9BE32}"/>
                  </a:ext>
                </a:extLst>
              </p:cNvPr>
              <p:cNvSpPr/>
              <p:nvPr/>
            </p:nvSpPr>
            <p:spPr>
              <a:xfrm>
                <a:off x="7459562" y="3544306"/>
                <a:ext cx="1523650" cy="762000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lIns="180000" tIns="180000" rIns="180000" bIns="180000" rtlCol="0" anchor="ctr"/>
              <a:lstStyle/>
              <a:p>
                <a:pPr marL="0" marR="0" indent="0" algn="ctr" defTabSz="914400" rtl="0" eaLnBrk="1" fontAlgn="auto" latinLnBrk="0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1200"/>
                  </a:spcAft>
                  <a:buClrTx/>
                  <a:buSzTx/>
                  <a:buFont typeface="Arial" panose="020B0604020202020204" pitchFamily="34" charset="0"/>
                  <a:buNone/>
                  <a:tabLst/>
                </a:pPr>
                <a:r>
                  <a:rPr kumimoji="0" lang="de-DE" sz="16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Experiment 3</a:t>
                </a:r>
              </a:p>
            </p:txBody>
          </p:sp>
          <p:sp>
            <p:nvSpPr>
              <p:cNvPr id="34" name="Rechteck 33">
                <a:extLst>
                  <a:ext uri="{FF2B5EF4-FFF2-40B4-BE49-F238E27FC236}">
                    <a16:creationId xmlns:a16="http://schemas.microsoft.com/office/drawing/2014/main" id="{7FBCE997-9234-CB10-579A-186E71222A99}"/>
                  </a:ext>
                </a:extLst>
              </p:cNvPr>
              <p:cNvSpPr/>
              <p:nvPr/>
            </p:nvSpPr>
            <p:spPr>
              <a:xfrm>
                <a:off x="9552266" y="3535546"/>
                <a:ext cx="1523650" cy="762000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lIns="180000" tIns="180000" rIns="180000" bIns="180000" rtlCol="0" anchor="ctr"/>
              <a:lstStyle/>
              <a:p>
                <a:pPr marL="0" marR="0" indent="0" algn="ctr" defTabSz="914400" rtl="0" eaLnBrk="1" fontAlgn="auto" latinLnBrk="0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1200"/>
                  </a:spcAft>
                  <a:buClrTx/>
                  <a:buSzTx/>
                  <a:buFont typeface="Arial" panose="020B0604020202020204" pitchFamily="34" charset="0"/>
                  <a:buNone/>
                  <a:tabLst/>
                </a:pPr>
                <a:r>
                  <a:rPr kumimoji="0" lang="de-DE" sz="16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Auswertung der Experimente</a:t>
                </a:r>
              </a:p>
            </p:txBody>
          </p:sp>
        </p:grpSp>
        <p:cxnSp>
          <p:nvCxnSpPr>
            <p:cNvPr id="10" name="Gerade Verbindung mit Pfeil 9">
              <a:extLst>
                <a:ext uri="{FF2B5EF4-FFF2-40B4-BE49-F238E27FC236}">
                  <a16:creationId xmlns:a16="http://schemas.microsoft.com/office/drawing/2014/main" id="{80905F64-2A32-F0E2-9D58-31ADA788D304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866900" y="4031263"/>
              <a:ext cx="0" cy="542267"/>
            </a:xfrm>
            <a:prstGeom prst="straightConnector1">
              <a:avLst/>
            </a:prstGeom>
            <a:ln w="38100">
              <a:solidFill>
                <a:srgbClr val="C50F3C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Gerade Verbindung mit Pfeil 12">
              <a:extLst>
                <a:ext uri="{FF2B5EF4-FFF2-40B4-BE49-F238E27FC236}">
                  <a16:creationId xmlns:a16="http://schemas.microsoft.com/office/drawing/2014/main" id="{48366583-62B7-DD98-DC41-D2EC0A84D3D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3973830" y="4013743"/>
              <a:ext cx="0" cy="542267"/>
            </a:xfrm>
            <a:prstGeom prst="straightConnector1">
              <a:avLst/>
            </a:prstGeom>
            <a:ln w="38100">
              <a:solidFill>
                <a:srgbClr val="C50F3C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Gerade Verbindung mit Pfeil 13">
              <a:extLst>
                <a:ext uri="{FF2B5EF4-FFF2-40B4-BE49-F238E27FC236}">
                  <a16:creationId xmlns:a16="http://schemas.microsoft.com/office/drawing/2014/main" id="{6306A267-9DD0-BC44-DD5A-374278A8207A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046470" y="4022503"/>
              <a:ext cx="0" cy="542267"/>
            </a:xfrm>
            <a:prstGeom prst="straightConnector1">
              <a:avLst/>
            </a:prstGeom>
            <a:ln w="38100">
              <a:solidFill>
                <a:srgbClr val="C50F3C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Gerade Verbindung mit Pfeil 14">
              <a:extLst>
                <a:ext uri="{FF2B5EF4-FFF2-40B4-BE49-F238E27FC236}">
                  <a16:creationId xmlns:a16="http://schemas.microsoft.com/office/drawing/2014/main" id="{57B495CF-A4BA-6CB9-2A6F-2EE4923ABC24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162925" y="4013743"/>
              <a:ext cx="0" cy="542267"/>
            </a:xfrm>
            <a:prstGeom prst="straightConnector1">
              <a:avLst/>
            </a:prstGeom>
            <a:ln w="38100">
              <a:solidFill>
                <a:srgbClr val="C50F3C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" name="Textfeld 16">
              <a:extLst>
                <a:ext uri="{FF2B5EF4-FFF2-40B4-BE49-F238E27FC236}">
                  <a16:creationId xmlns:a16="http://schemas.microsoft.com/office/drawing/2014/main" id="{62CE16AC-AF2F-E398-6117-7291B07C562E}"/>
                </a:ext>
              </a:extLst>
            </p:cNvPr>
            <p:cNvSpPr txBox="1"/>
            <p:nvPr/>
          </p:nvSpPr>
          <p:spPr>
            <a:xfrm>
              <a:off x="1005841" y="4657696"/>
              <a:ext cx="1722118" cy="24981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Python</a:t>
              </a:r>
            </a:p>
          </p:txBody>
        </p:sp>
        <p:sp>
          <p:nvSpPr>
            <p:cNvPr id="18" name="Textfeld 17">
              <a:extLst>
                <a:ext uri="{FF2B5EF4-FFF2-40B4-BE49-F238E27FC236}">
                  <a16:creationId xmlns:a16="http://schemas.microsoft.com/office/drawing/2014/main" id="{4DD91446-C7B3-6D12-F449-FD708B6488BE}"/>
                </a:ext>
              </a:extLst>
            </p:cNvPr>
            <p:cNvSpPr txBox="1"/>
            <p:nvPr/>
          </p:nvSpPr>
          <p:spPr>
            <a:xfrm>
              <a:off x="2707008" y="4634101"/>
              <a:ext cx="2533643" cy="52065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COMPAS Dataset, German </a:t>
              </a:r>
              <a:r>
                <a:rPr kumimoji="0" lang="de-DE" sz="1600" b="0" i="0" u="none" strike="noStrike" kern="120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Credit</a:t>
              </a:r>
              <a:r>
                <a:rPr kumimoji="0" lang="de-DE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 Dataset (aif360)</a:t>
              </a:r>
            </a:p>
          </p:txBody>
        </p:sp>
        <p:sp>
          <p:nvSpPr>
            <p:cNvPr id="19" name="Textfeld 18">
              <a:extLst>
                <a:ext uri="{FF2B5EF4-FFF2-40B4-BE49-F238E27FC236}">
                  <a16:creationId xmlns:a16="http://schemas.microsoft.com/office/drawing/2014/main" id="{71738F5F-51DC-F590-814B-8EDA42BB3E7D}"/>
                </a:ext>
              </a:extLst>
            </p:cNvPr>
            <p:cNvSpPr txBox="1"/>
            <p:nvPr/>
          </p:nvSpPr>
          <p:spPr>
            <a:xfrm>
              <a:off x="7076478" y="4657696"/>
              <a:ext cx="2172893" cy="52065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lang="de-DE" sz="1600" dirty="0">
                  <a:solidFill>
                    <a:prstClr val="black"/>
                  </a:solidFill>
                  <a:latin typeface="Arial"/>
                </a:rPr>
                <a:t>Datasets aus </a:t>
              </a:r>
              <a:r>
                <a:rPr lang="de-DE" sz="1600" dirty="0" err="1">
                  <a:solidFill>
                    <a:prstClr val="black"/>
                  </a:solidFill>
                  <a:latin typeface="Arial"/>
                </a:rPr>
                <a:t>Exp</a:t>
              </a:r>
              <a:r>
                <a:rPr lang="de-DE" sz="1600" dirty="0">
                  <a:solidFill>
                    <a:prstClr val="black"/>
                  </a:solidFill>
                  <a:latin typeface="Arial"/>
                </a:rPr>
                <a:t>. 1 auf andere </a:t>
              </a:r>
              <a:r>
                <a:rPr lang="de-DE" sz="1600" dirty="0" err="1">
                  <a:solidFill>
                    <a:prstClr val="black"/>
                  </a:solidFill>
                  <a:latin typeface="Arial"/>
                </a:rPr>
                <a:t>Biases</a:t>
              </a:r>
              <a:r>
                <a:rPr lang="de-DE" sz="1600" dirty="0">
                  <a:solidFill>
                    <a:prstClr val="black"/>
                  </a:solidFill>
                  <a:latin typeface="Arial"/>
                </a:rPr>
                <a:t>, </a:t>
              </a:r>
              <a:r>
                <a:rPr lang="de-DE" sz="1600" dirty="0" err="1">
                  <a:solidFill>
                    <a:prstClr val="black"/>
                  </a:solidFill>
                  <a:latin typeface="Arial"/>
                </a:rPr>
                <a:t>tbd</a:t>
              </a:r>
              <a:r>
                <a:rPr lang="de-DE" sz="1600" dirty="0">
                  <a:solidFill>
                    <a:prstClr val="black"/>
                  </a:solidFill>
                  <a:latin typeface="Arial"/>
                </a:rPr>
                <a:t>.</a:t>
              </a:r>
              <a:endPara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2" name="Textfeld 21">
              <a:extLst>
                <a:ext uri="{FF2B5EF4-FFF2-40B4-BE49-F238E27FC236}">
                  <a16:creationId xmlns:a16="http://schemas.microsoft.com/office/drawing/2014/main" id="{A0A4669B-E541-1CA7-2AE4-9640DB1D75DE}"/>
                </a:ext>
              </a:extLst>
            </p:cNvPr>
            <p:cNvSpPr txBox="1"/>
            <p:nvPr/>
          </p:nvSpPr>
          <p:spPr>
            <a:xfrm>
              <a:off x="5831683" y="4678437"/>
              <a:ext cx="429573" cy="24981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?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772458879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Textplatzhalter 31">
            <a:extLst>
              <a:ext uri="{FF2B5EF4-FFF2-40B4-BE49-F238E27FC236}">
                <a16:creationId xmlns:a16="http://schemas.microsoft.com/office/drawing/2014/main" id="{822F10C4-5C7B-EB1B-6862-AE72076F0EA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18317" y="2647985"/>
            <a:ext cx="11157745" cy="1562031"/>
          </a:xfrm>
        </p:spPr>
        <p:txBody>
          <a:bodyPr/>
          <a:lstStyle/>
          <a:p>
            <a:r>
              <a:rPr lang="de-DE" dirty="0"/>
              <a:t>Vielen Dank für eure </a:t>
            </a:r>
          </a:p>
          <a:p>
            <a:r>
              <a:rPr lang="de-DE" dirty="0"/>
              <a:t>Aufmerksamkeit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F982CCC3-22A8-43D8-9D7F-0A6E2AC8C337}"/>
              </a:ext>
            </a:extLst>
          </p:cNvPr>
          <p:cNvSpPr>
            <a:spLocks noGrp="1"/>
          </p:cNvSpPr>
          <p:nvPr>
            <p:ph type="dt" sz="half" idx="4294967295"/>
          </p:nvPr>
        </p:nvSpPr>
        <p:spPr>
          <a:xfrm>
            <a:off x="11342688" y="6634163"/>
            <a:ext cx="849312" cy="123825"/>
          </a:xfrm>
        </p:spPr>
        <p:txBody>
          <a:bodyPr/>
          <a:lstStyle/>
          <a:p>
            <a:fld id="{974F31EF-6EA6-4A24-8992-69DC7A69151C}" type="datetime4">
              <a:rPr lang="de-DE" smtClean="0"/>
              <a:t>19. Dezember 2022</a:t>
            </a:fld>
            <a:endParaRPr lang="de-DE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2E068204-A6FE-F4ED-690E-22872D79D6E7}"/>
              </a:ext>
            </a:extLst>
          </p:cNvPr>
          <p:cNvSpPr>
            <a:spLocks noGrp="1"/>
          </p:cNvSpPr>
          <p:nvPr>
            <p:ph type="ftr" sz="quarter" idx="4294967295"/>
          </p:nvPr>
        </p:nvSpPr>
        <p:spPr>
          <a:xfrm>
            <a:off x="0" y="6634163"/>
            <a:ext cx="9574213" cy="123825"/>
          </a:xfrm>
        </p:spPr>
        <p:txBody>
          <a:bodyPr/>
          <a:lstStyle/>
          <a:p>
            <a:r>
              <a:rPr lang="de-DE"/>
              <a:t>Wirtschafts- und Sozialwissenschaften | WiSo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CB11C3A7-7FEE-011D-55D5-B3A80CEF0818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998325" y="6634163"/>
            <a:ext cx="193675" cy="123825"/>
          </a:xfrm>
        </p:spPr>
        <p:txBody>
          <a:bodyPr/>
          <a:lstStyle/>
          <a:p>
            <a:fld id="{D949F9DF-37BD-4CD6-BF49-65BA579E1D7A}" type="slidenum">
              <a:rPr lang="de-DE" smtClean="0"/>
              <a:pPr/>
              <a:t>2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6112670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itel 20">
            <a:extLst>
              <a:ext uri="{FF2B5EF4-FFF2-40B4-BE49-F238E27FC236}">
                <a16:creationId xmlns:a16="http://schemas.microsoft.com/office/drawing/2014/main" id="{3018BD05-96D8-43F2-A6AA-CC40E7C32CC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8318" y="3152001"/>
            <a:ext cx="11157743" cy="553998"/>
          </a:xfrm>
        </p:spPr>
        <p:txBody>
          <a:bodyPr/>
          <a:lstStyle/>
          <a:p>
            <a:r>
              <a:rPr lang="de-DE" dirty="0"/>
              <a:t>1. Problem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FE7214E1-5D14-4D0B-BADD-2E239FECEC1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29D632-EE07-48FA-B475-B0D49CBC7F92}" type="datetime4">
              <a:rPr lang="de-DE" smtClean="0"/>
              <a:pPr/>
              <a:t>19. Dezember 2022</a:t>
            </a:fld>
            <a:endParaRPr lang="de-DE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6A6AD034-0F65-47AF-9CAA-C4B0CEB30D4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b="1" dirty="0"/>
              <a:t>Philippe Huber</a:t>
            </a:r>
            <a:r>
              <a:rPr lang="de-DE" dirty="0"/>
              <a:t>, Rene Jokiel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0F7E098-F740-40F7-A085-7034627D914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2953453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A351964-2BB6-97F3-6B22-336C556741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89B0C6-E378-43D9-87B6-F295F13B6DA2}" type="datetime4">
              <a:rPr lang="de-DE" smtClean="0"/>
              <a:t>19. Dezember 2022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408DCD8-0AA7-E516-1759-8D23827820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b="1" dirty="0"/>
              <a:t>Philippe Huber</a:t>
            </a:r>
            <a:r>
              <a:rPr lang="de-DE" dirty="0"/>
              <a:t>, Rene Jokiel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CC781B4-8E2A-7EAA-0553-BD86241E8C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4</a:t>
            </a:fld>
            <a:endParaRPr lang="de-DE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21FCF248-E52B-AAAC-8191-981DF0055B56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141A52E9-C3AF-262C-EBCF-F1578441CF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enschengemachte Datensätze enthalten oft Verzerrungen, die sich negativ auf die Fairness von KI auswirken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729D91F5-AF69-2294-FA98-A806524F9A0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Problematik</a:t>
            </a:r>
          </a:p>
        </p:txBody>
      </p:sp>
      <p:graphicFrame>
        <p:nvGraphicFramePr>
          <p:cNvPr id="8" name="Diagramm 7">
            <a:extLst>
              <a:ext uri="{FF2B5EF4-FFF2-40B4-BE49-F238E27FC236}">
                <a16:creationId xmlns:a16="http://schemas.microsoft.com/office/drawing/2014/main" id="{B2E9B0AA-F06A-C2C1-613E-F03D00C58B7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86617418"/>
              </p:ext>
            </p:extLst>
          </p:nvPr>
        </p:nvGraphicFramePr>
        <p:xfrm>
          <a:off x="515937" y="1454543"/>
          <a:ext cx="11157742" cy="476673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271284842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itel 20">
            <a:extLst>
              <a:ext uri="{FF2B5EF4-FFF2-40B4-BE49-F238E27FC236}">
                <a16:creationId xmlns:a16="http://schemas.microsoft.com/office/drawing/2014/main" id="{3018BD05-96D8-43F2-A6AA-CC40E7C32CC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8318" y="3152001"/>
            <a:ext cx="11157743" cy="553998"/>
          </a:xfrm>
        </p:spPr>
        <p:txBody>
          <a:bodyPr/>
          <a:lstStyle/>
          <a:p>
            <a:r>
              <a:rPr lang="de-DE" dirty="0"/>
              <a:t>2. Stand der Wissenschaft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FE7214E1-5D14-4D0B-BADD-2E239FECEC1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29D632-EE07-48FA-B475-B0D49CBC7F92}" type="datetime4">
              <a:rPr lang="de-DE" smtClean="0"/>
              <a:pPr/>
              <a:t>19. Dezember 2022</a:t>
            </a:fld>
            <a:endParaRPr lang="de-DE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6A6AD034-0F65-47AF-9CAA-C4B0CEB30D4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b="1" dirty="0"/>
              <a:t>Philippe Huber</a:t>
            </a:r>
            <a:r>
              <a:rPr lang="de-DE" dirty="0"/>
              <a:t>, Rene Jokiel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0F7E098-F740-40F7-A085-7034627D914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0699217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8CC97387-EEDB-FB9F-9E1F-8D247981C3B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7276614-C801-48D1-BE5E-3E261D899ED8}" type="datetime4">
              <a:rPr lang="de-DE" smtClean="0"/>
              <a:t>19. Dezember 2022</a:t>
            </a:fld>
            <a:endParaRPr lang="de-DE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40578FD-E0C9-BB7E-DB7B-3B6493485C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b="1" dirty="0"/>
              <a:t>Philippe Huber</a:t>
            </a:r>
            <a:r>
              <a:rPr lang="de-DE" dirty="0"/>
              <a:t>, Rene </a:t>
            </a:r>
            <a:r>
              <a:rPr lang="de-DE" dirty="0" err="1"/>
              <a:t>Jokiel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8D1152AC-449C-CB51-4129-A76808FE641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6</a:t>
            </a:fld>
            <a:endParaRPr lang="de-DE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698EAA61-9E74-3B67-FB3C-B96EE85787FE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518319" y="1635180"/>
            <a:ext cx="11157742" cy="4569619"/>
          </a:xfrm>
        </p:spPr>
        <p:txBody>
          <a:bodyPr/>
          <a:lstStyle/>
          <a:p>
            <a:pPr algn="just"/>
            <a:r>
              <a:rPr lang="en-US" sz="1400" dirty="0">
                <a:solidFill>
                  <a:prstClr val="black"/>
                </a:solidFill>
                <a:latin typeface="Arial"/>
              </a:rPr>
              <a:t>( TITLE-ABS-KEY ( ai  AND  fair  AND  adjust  AND  data )  OR  TITLE-ABS-KEY ( ai  AND  fairness  AND  adjust  AND  data )  OR  TITLE-ABS-KEY ( ai  AND  reduce  AND  bias  AND  adjust  AND  data )  OR  TITLE-ABS-KEY ( ai  AND  ensure  AND  fairness  AND  adjust  AND  data )  OR  TITLE-ABS-KEY ( ai  AND  reduce  AND  bias  AND  data )  OR  TITLE-ABS-KEY ( ai  AND  prejudice  AND  adjust  AND  data )  OR  TITLE-ABS-KEY ( ai  AND  prejudice  AND  reduce  AND  data ) )  OR  ( TITLE-ABS-KEY ( fairness ) AND TITLE-ABS-KEY ( ai ) AND TITLE-ABS-KEY ( data ) OR TITLE-ABS-KEY ( "ensure fairness" ) AND TITLE-ABS-KEY ( ai ) AND TITLE-ABS-KEY ( data ) OR TITLE-ABS-KEY ( ai ) AND TITLE-ABS-KEY ( fair ) AND TITLE-ABS-KEY ( data ) AND TITLE-ABS-KEY ( manipulation ) )  OR  TITLE-ABS-KEY ( “fair ai" )</a:t>
            </a:r>
          </a:p>
          <a:p>
            <a:pPr algn="just"/>
            <a:endParaRPr lang="de-DE" dirty="0">
              <a:solidFill>
                <a:prstClr val="black"/>
              </a:solidFill>
              <a:latin typeface="Arial"/>
            </a:endParaRPr>
          </a:p>
          <a:p>
            <a:endParaRPr lang="de-DE" sz="18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endParaRPr lang="de-DE" sz="18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endParaRPr lang="de-DE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C0CC60-1B83-7128-7D02-7871F2476456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7" name="Titel 6">
            <a:extLst>
              <a:ext uri="{FF2B5EF4-FFF2-40B4-BE49-F238E27FC236}">
                <a16:creationId xmlns:a16="http://schemas.microsoft.com/office/drawing/2014/main" id="{97D31BF9-DD59-B621-B22E-D022B287ACE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Wir haben 206 Suchergebnisse auf 10 für uns Relevante Quellen reduziert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D67A2B00-8A9C-058E-B883-28251496D7D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Suchanfrage</a:t>
            </a:r>
          </a:p>
        </p:txBody>
      </p:sp>
      <p:graphicFrame>
        <p:nvGraphicFramePr>
          <p:cNvPr id="9" name="Tabelle 8">
            <a:extLst>
              <a:ext uri="{FF2B5EF4-FFF2-40B4-BE49-F238E27FC236}">
                <a16:creationId xmlns:a16="http://schemas.microsoft.com/office/drawing/2014/main" id="{F1BF3770-B3EC-73DC-3EC3-C587118E39B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2928886"/>
              </p:ext>
            </p:extLst>
          </p:nvPr>
        </p:nvGraphicFramePr>
        <p:xfrm>
          <a:off x="2972619" y="3426903"/>
          <a:ext cx="6246762" cy="2824549"/>
        </p:xfrm>
        <a:graphic>
          <a:graphicData uri="http://schemas.openxmlformats.org/drawingml/2006/table">
            <a:tbl>
              <a:tblPr firstRow="1" firstCol="1" bandRow="1">
                <a:tableStyleId>{F5AB1C69-6EDB-4FF4-983F-18BD219EF322}</a:tableStyleId>
              </a:tblPr>
              <a:tblGrid>
                <a:gridCol w="1561346">
                  <a:extLst>
                    <a:ext uri="{9D8B030D-6E8A-4147-A177-3AD203B41FA5}">
                      <a16:colId xmlns:a16="http://schemas.microsoft.com/office/drawing/2014/main" val="1595450553"/>
                    </a:ext>
                  </a:extLst>
                </a:gridCol>
                <a:gridCol w="1561346">
                  <a:extLst>
                    <a:ext uri="{9D8B030D-6E8A-4147-A177-3AD203B41FA5}">
                      <a16:colId xmlns:a16="http://schemas.microsoft.com/office/drawing/2014/main" val="3531526526"/>
                    </a:ext>
                  </a:extLst>
                </a:gridCol>
                <a:gridCol w="1562035">
                  <a:extLst>
                    <a:ext uri="{9D8B030D-6E8A-4147-A177-3AD203B41FA5}">
                      <a16:colId xmlns:a16="http://schemas.microsoft.com/office/drawing/2014/main" val="3267534878"/>
                    </a:ext>
                  </a:extLst>
                </a:gridCol>
                <a:gridCol w="1562035">
                  <a:extLst>
                    <a:ext uri="{9D8B030D-6E8A-4147-A177-3AD203B41FA5}">
                      <a16:colId xmlns:a16="http://schemas.microsoft.com/office/drawing/2014/main" val="3286970943"/>
                    </a:ext>
                  </a:extLst>
                </a:gridCol>
              </a:tblGrid>
              <a:tr h="185204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 dirty="0">
                          <a:effectLst/>
                        </a:rPr>
                        <a:t> </a:t>
                      </a:r>
                      <a:endParaRPr lang="de-DE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 dirty="0" err="1">
                          <a:effectLst/>
                        </a:rPr>
                        <a:t>Scopus</a:t>
                      </a:r>
                      <a:endParaRPr lang="de-DE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 dirty="0">
                          <a:effectLst/>
                        </a:rPr>
                        <a:t>IEEE</a:t>
                      </a:r>
                      <a:endParaRPr lang="de-DE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 dirty="0">
                          <a:effectLst/>
                        </a:rPr>
                        <a:t>∑</a:t>
                      </a:r>
                      <a:endParaRPr lang="de-DE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840044989"/>
                  </a:ext>
                </a:extLst>
              </a:tr>
              <a:tr h="380208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>
                          <a:effectLst/>
                        </a:rPr>
                        <a:t>Zurückgelieferte Ergebnisse</a:t>
                      </a:r>
                      <a:endParaRPr lang="de-DE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 dirty="0">
                          <a:effectLst/>
                        </a:rPr>
                        <a:t>131</a:t>
                      </a:r>
                      <a:endParaRPr lang="de-DE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 dirty="0">
                          <a:effectLst/>
                        </a:rPr>
                        <a:t>75</a:t>
                      </a:r>
                      <a:endParaRPr lang="de-DE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 dirty="0">
                          <a:effectLst/>
                        </a:rPr>
                        <a:t>206</a:t>
                      </a:r>
                      <a:endParaRPr lang="de-DE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870755248"/>
                  </a:ext>
                </a:extLst>
              </a:tr>
              <a:tr h="380208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>
                          <a:effectLst/>
                        </a:rPr>
                        <a:t>Duplikats-Eliminierung</a:t>
                      </a:r>
                      <a:endParaRPr lang="de-DE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 dirty="0">
                          <a:effectLst/>
                        </a:rPr>
                        <a:t>-0</a:t>
                      </a:r>
                      <a:endParaRPr lang="de-DE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>
                          <a:effectLst/>
                        </a:rPr>
                        <a:t>-2</a:t>
                      </a:r>
                      <a:endParaRPr lang="de-DE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 dirty="0">
                          <a:effectLst/>
                        </a:rPr>
                        <a:t>204</a:t>
                      </a:r>
                      <a:endParaRPr lang="de-DE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699750848"/>
                  </a:ext>
                </a:extLst>
              </a:tr>
              <a:tr h="358097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 dirty="0">
                          <a:effectLst/>
                        </a:rPr>
                        <a:t>Titel-Eliminierung</a:t>
                      </a:r>
                      <a:endParaRPr lang="de-DE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 dirty="0">
                          <a:effectLst/>
                        </a:rPr>
                        <a:t>-115</a:t>
                      </a:r>
                      <a:endParaRPr lang="de-DE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>
                          <a:effectLst/>
                        </a:rPr>
                        <a:t>-66</a:t>
                      </a:r>
                      <a:endParaRPr lang="de-DE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 dirty="0">
                          <a:effectLst/>
                        </a:rPr>
                        <a:t>23</a:t>
                      </a:r>
                      <a:endParaRPr lang="de-DE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54505041"/>
                  </a:ext>
                </a:extLst>
              </a:tr>
              <a:tr h="380208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 dirty="0">
                          <a:effectLst/>
                        </a:rPr>
                        <a:t>Abstract-Eliminierung</a:t>
                      </a:r>
                      <a:endParaRPr lang="de-DE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 dirty="0">
                          <a:effectLst/>
                        </a:rPr>
                        <a:t>-3</a:t>
                      </a:r>
                      <a:endParaRPr lang="de-DE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>
                          <a:effectLst/>
                        </a:rPr>
                        <a:t>-5</a:t>
                      </a:r>
                      <a:endParaRPr lang="de-DE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 dirty="0">
                          <a:effectLst/>
                        </a:rPr>
                        <a:t>15</a:t>
                      </a:r>
                      <a:endParaRPr lang="de-DE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4175158"/>
                  </a:ext>
                </a:extLst>
              </a:tr>
              <a:tr h="380208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>
                          <a:effectLst/>
                        </a:rPr>
                        <a:t>Verfügbarkeits-Eliminierung</a:t>
                      </a:r>
                      <a:endParaRPr lang="de-DE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>
                          <a:effectLst/>
                        </a:rPr>
                        <a:t>-4</a:t>
                      </a:r>
                      <a:endParaRPr lang="de-DE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>
                          <a:effectLst/>
                        </a:rPr>
                        <a:t>-0</a:t>
                      </a:r>
                      <a:endParaRPr lang="de-DE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>
                          <a:effectLst/>
                        </a:rPr>
                        <a:t>11</a:t>
                      </a:r>
                      <a:endParaRPr lang="de-DE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4087116843"/>
                  </a:ext>
                </a:extLst>
              </a:tr>
              <a:tr h="380208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>
                          <a:effectLst/>
                        </a:rPr>
                        <a:t>Fulltext-Eliminierung</a:t>
                      </a:r>
                      <a:endParaRPr lang="de-DE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>
                          <a:effectLst/>
                        </a:rPr>
                        <a:t>-3</a:t>
                      </a:r>
                      <a:endParaRPr lang="de-DE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>
                          <a:effectLst/>
                        </a:rPr>
                        <a:t>-1</a:t>
                      </a:r>
                      <a:endParaRPr lang="de-DE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>
                          <a:effectLst/>
                        </a:rPr>
                        <a:t>7</a:t>
                      </a:r>
                      <a:endParaRPr lang="de-DE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313619573"/>
                  </a:ext>
                </a:extLst>
              </a:tr>
              <a:tr h="380208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>
                          <a:effectLst/>
                        </a:rPr>
                        <a:t>Forward &amp; Backward Search</a:t>
                      </a:r>
                      <a:endParaRPr lang="de-DE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>
                          <a:effectLst/>
                        </a:rPr>
                        <a:t>+1</a:t>
                      </a:r>
                      <a:endParaRPr lang="de-DE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>
                          <a:effectLst/>
                        </a:rPr>
                        <a:t>+2</a:t>
                      </a:r>
                      <a:endParaRPr lang="de-DE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 dirty="0">
                          <a:effectLst/>
                        </a:rPr>
                        <a:t>10</a:t>
                      </a:r>
                      <a:endParaRPr lang="de-DE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87829247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65918981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8CC97387-EEDB-FB9F-9E1F-8D247981C3B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7276614-C801-48D1-BE5E-3E261D899ED8}" type="datetime4">
              <a:rPr lang="de-DE" smtClean="0"/>
              <a:t>19. Dezember 2022</a:t>
            </a:fld>
            <a:endParaRPr lang="de-DE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40578FD-E0C9-BB7E-DB7B-3B6493485C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b="1" dirty="0"/>
              <a:t>Philippe Huber</a:t>
            </a:r>
            <a:r>
              <a:rPr lang="de-DE" dirty="0"/>
              <a:t>, Rene </a:t>
            </a:r>
            <a:r>
              <a:rPr lang="de-DE" dirty="0" err="1"/>
              <a:t>Jokiel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8D1152AC-449C-CB51-4129-A76808FE641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7</a:t>
            </a:fld>
            <a:endParaRPr lang="de-DE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698EAA61-9E74-3B67-FB3C-B96EE85787FE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/>
        <p:txBody>
          <a:bodyPr/>
          <a:lstStyle/>
          <a:p>
            <a:pPr algn="just"/>
            <a:r>
              <a:rPr lang="en-US" sz="1400" dirty="0">
                <a:solidFill>
                  <a:prstClr val="black"/>
                </a:solidFill>
                <a:latin typeface="Arial"/>
              </a:rPr>
              <a:t>( TITLE-ABS-KEY ( ai  AND  </a:t>
            </a:r>
            <a:r>
              <a:rPr lang="en-US" sz="1400" dirty="0">
                <a:solidFill>
                  <a:prstClr val="black"/>
                </a:solidFill>
                <a:highlight>
                  <a:srgbClr val="FFFF00"/>
                </a:highlight>
                <a:latin typeface="Arial"/>
              </a:rPr>
              <a:t>fair</a:t>
            </a:r>
            <a:r>
              <a:rPr lang="en-US" sz="1400" dirty="0">
                <a:solidFill>
                  <a:prstClr val="black"/>
                </a:solidFill>
                <a:latin typeface="Arial"/>
              </a:rPr>
              <a:t>  AND  adjust  AND  data )  OR  TITLE-ABS-KEY ( ai  AND  </a:t>
            </a:r>
            <a:r>
              <a:rPr lang="en-US" sz="1400" dirty="0">
                <a:solidFill>
                  <a:prstClr val="black"/>
                </a:solidFill>
                <a:highlight>
                  <a:srgbClr val="FFFF00"/>
                </a:highlight>
                <a:latin typeface="Arial"/>
              </a:rPr>
              <a:t>fairness</a:t>
            </a:r>
            <a:r>
              <a:rPr lang="en-US" sz="1400" dirty="0">
                <a:solidFill>
                  <a:prstClr val="black"/>
                </a:solidFill>
                <a:latin typeface="Arial"/>
              </a:rPr>
              <a:t>  AND  adjust  AND  data )  OR  TITLE-ABS-KEY ( ai  AND  </a:t>
            </a:r>
            <a:r>
              <a:rPr lang="en-US" sz="1400" dirty="0">
                <a:solidFill>
                  <a:prstClr val="black"/>
                </a:solidFill>
                <a:highlight>
                  <a:srgbClr val="FFFF00"/>
                </a:highlight>
                <a:latin typeface="Arial"/>
              </a:rPr>
              <a:t>reduce</a:t>
            </a:r>
            <a:r>
              <a:rPr lang="en-US" sz="1400" dirty="0">
                <a:solidFill>
                  <a:prstClr val="black"/>
                </a:solidFill>
                <a:latin typeface="Arial"/>
              </a:rPr>
              <a:t>  AND  </a:t>
            </a:r>
            <a:r>
              <a:rPr lang="en-US" sz="1400" dirty="0">
                <a:solidFill>
                  <a:prstClr val="black"/>
                </a:solidFill>
                <a:highlight>
                  <a:srgbClr val="FFFF00"/>
                </a:highlight>
                <a:latin typeface="Arial"/>
              </a:rPr>
              <a:t>bias</a:t>
            </a:r>
            <a:r>
              <a:rPr lang="en-US" sz="1400" dirty="0">
                <a:solidFill>
                  <a:prstClr val="black"/>
                </a:solidFill>
                <a:latin typeface="Arial"/>
              </a:rPr>
              <a:t>  AND  adjust  AND  data )  OR  TITLE-ABS-KEY ( ai  AND  ensure  AND  fairness  AND  </a:t>
            </a:r>
            <a:r>
              <a:rPr lang="en-US" sz="1400" dirty="0">
                <a:solidFill>
                  <a:prstClr val="black"/>
                </a:solidFill>
                <a:highlight>
                  <a:srgbClr val="FFFF00"/>
                </a:highlight>
                <a:latin typeface="Arial"/>
              </a:rPr>
              <a:t>adjust</a:t>
            </a:r>
            <a:r>
              <a:rPr lang="en-US" sz="1400" dirty="0">
                <a:solidFill>
                  <a:prstClr val="black"/>
                </a:solidFill>
                <a:latin typeface="Arial"/>
              </a:rPr>
              <a:t>  AND  data )  OR  TITLE-ABS-KEY ( </a:t>
            </a:r>
            <a:r>
              <a:rPr lang="en-US" sz="1400" dirty="0">
                <a:solidFill>
                  <a:prstClr val="black"/>
                </a:solidFill>
                <a:highlight>
                  <a:srgbClr val="FFFF00"/>
                </a:highlight>
                <a:latin typeface="Arial"/>
              </a:rPr>
              <a:t>ai</a:t>
            </a:r>
            <a:r>
              <a:rPr lang="en-US" sz="1400" dirty="0">
                <a:solidFill>
                  <a:prstClr val="black"/>
                </a:solidFill>
                <a:latin typeface="Arial"/>
              </a:rPr>
              <a:t>  AND  reduce  AND  bias  AND  data )  OR  TITLE-ABS-KEY ( ai  AND  prejudice  AND  adjust  AND  data )  OR  TITLE-ABS-KEY ( ai  AND  prejudice  AND  reduce  AND  data ) )  OR  ( TITLE-ABS-KEY ( fairness ) AND TITLE-ABS-KEY ( ai ) AND TITLE-ABS-KEY ( data ) OR TITLE-ABS-KEY ( "</a:t>
            </a:r>
            <a:r>
              <a:rPr lang="en-US" sz="1400" dirty="0">
                <a:solidFill>
                  <a:prstClr val="black"/>
                </a:solidFill>
                <a:highlight>
                  <a:srgbClr val="00FF00"/>
                </a:highlight>
                <a:latin typeface="Arial"/>
              </a:rPr>
              <a:t>ensure fairness</a:t>
            </a:r>
            <a:r>
              <a:rPr lang="en-US" sz="1400" dirty="0">
                <a:solidFill>
                  <a:prstClr val="black"/>
                </a:solidFill>
                <a:latin typeface="Arial"/>
              </a:rPr>
              <a:t>" ) AND TITLE-ABS-KEY ( ai ) AND TITLE-ABS-KEY ( data ) OR TITLE-ABS-KEY ( ai ) AND TITLE-ABS-KEY ( fair ) AND TITLE-ABS-KEY ( data ) AND TITLE-ABS-KEY ( </a:t>
            </a:r>
            <a:r>
              <a:rPr lang="en-US" sz="1400" dirty="0">
                <a:solidFill>
                  <a:prstClr val="black"/>
                </a:solidFill>
                <a:highlight>
                  <a:srgbClr val="00FF00"/>
                </a:highlight>
                <a:latin typeface="Arial"/>
              </a:rPr>
              <a:t>manipulation</a:t>
            </a:r>
            <a:r>
              <a:rPr lang="en-US" sz="1400" dirty="0">
                <a:solidFill>
                  <a:prstClr val="black"/>
                </a:solidFill>
                <a:latin typeface="Arial"/>
              </a:rPr>
              <a:t> ) )  OR  TITLE-ABS-KEY ( “</a:t>
            </a:r>
            <a:r>
              <a:rPr lang="en-US" sz="1400" dirty="0">
                <a:solidFill>
                  <a:prstClr val="black"/>
                </a:solidFill>
                <a:highlight>
                  <a:srgbClr val="00FFFF"/>
                </a:highlight>
                <a:latin typeface="Arial"/>
              </a:rPr>
              <a:t>fair ai</a:t>
            </a:r>
            <a:r>
              <a:rPr lang="en-US" sz="1400" dirty="0">
                <a:solidFill>
                  <a:prstClr val="black"/>
                </a:solidFill>
                <a:latin typeface="Arial"/>
              </a:rPr>
              <a:t>" )</a:t>
            </a:r>
          </a:p>
          <a:p>
            <a:pPr algn="just"/>
            <a:endParaRPr lang="de-DE" dirty="0">
              <a:solidFill>
                <a:prstClr val="black"/>
              </a:solidFill>
              <a:latin typeface="Arial"/>
            </a:endParaRPr>
          </a:p>
          <a:p>
            <a:endParaRPr lang="de-DE" sz="18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endParaRPr lang="de-DE" sz="18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endParaRPr lang="de-DE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C0CC60-1B83-7128-7D02-7871F2476456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7" name="Titel 6">
            <a:extLst>
              <a:ext uri="{FF2B5EF4-FFF2-40B4-BE49-F238E27FC236}">
                <a16:creationId xmlns:a16="http://schemas.microsoft.com/office/drawing/2014/main" id="{97D31BF9-DD59-B621-B22E-D022B287ACE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Wir haben 206 Suchergebnisse auf 10 für uns Relevante Quellen reduziert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D67A2B00-8A9C-058E-B883-28251496D7D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Suchanfrage</a:t>
            </a:r>
          </a:p>
        </p:txBody>
      </p:sp>
      <p:graphicFrame>
        <p:nvGraphicFramePr>
          <p:cNvPr id="10" name="Tabelle 9">
            <a:extLst>
              <a:ext uri="{FF2B5EF4-FFF2-40B4-BE49-F238E27FC236}">
                <a16:creationId xmlns:a16="http://schemas.microsoft.com/office/drawing/2014/main" id="{4AA91381-1E98-0F51-2BC0-284C1EF4568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26311562"/>
              </p:ext>
            </p:extLst>
          </p:nvPr>
        </p:nvGraphicFramePr>
        <p:xfrm>
          <a:off x="2972619" y="3429000"/>
          <a:ext cx="6246762" cy="2824549"/>
        </p:xfrm>
        <a:graphic>
          <a:graphicData uri="http://schemas.openxmlformats.org/drawingml/2006/table">
            <a:tbl>
              <a:tblPr firstRow="1" firstCol="1" bandRow="1">
                <a:tableStyleId>{F5AB1C69-6EDB-4FF4-983F-18BD219EF322}</a:tableStyleId>
              </a:tblPr>
              <a:tblGrid>
                <a:gridCol w="1561346">
                  <a:extLst>
                    <a:ext uri="{9D8B030D-6E8A-4147-A177-3AD203B41FA5}">
                      <a16:colId xmlns:a16="http://schemas.microsoft.com/office/drawing/2014/main" val="1595450553"/>
                    </a:ext>
                  </a:extLst>
                </a:gridCol>
                <a:gridCol w="1561346">
                  <a:extLst>
                    <a:ext uri="{9D8B030D-6E8A-4147-A177-3AD203B41FA5}">
                      <a16:colId xmlns:a16="http://schemas.microsoft.com/office/drawing/2014/main" val="3531526526"/>
                    </a:ext>
                  </a:extLst>
                </a:gridCol>
                <a:gridCol w="1562035">
                  <a:extLst>
                    <a:ext uri="{9D8B030D-6E8A-4147-A177-3AD203B41FA5}">
                      <a16:colId xmlns:a16="http://schemas.microsoft.com/office/drawing/2014/main" val="3267534878"/>
                    </a:ext>
                  </a:extLst>
                </a:gridCol>
                <a:gridCol w="1562035">
                  <a:extLst>
                    <a:ext uri="{9D8B030D-6E8A-4147-A177-3AD203B41FA5}">
                      <a16:colId xmlns:a16="http://schemas.microsoft.com/office/drawing/2014/main" val="3286970943"/>
                    </a:ext>
                  </a:extLst>
                </a:gridCol>
              </a:tblGrid>
              <a:tr h="185204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 dirty="0">
                          <a:effectLst/>
                        </a:rPr>
                        <a:t> </a:t>
                      </a:r>
                      <a:endParaRPr lang="de-DE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 dirty="0" err="1">
                          <a:effectLst/>
                        </a:rPr>
                        <a:t>Scopus</a:t>
                      </a:r>
                      <a:endParaRPr lang="de-DE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 dirty="0">
                          <a:effectLst/>
                        </a:rPr>
                        <a:t>IEEE</a:t>
                      </a:r>
                      <a:endParaRPr lang="de-DE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 dirty="0">
                          <a:effectLst/>
                        </a:rPr>
                        <a:t>∑</a:t>
                      </a:r>
                      <a:endParaRPr lang="de-DE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840044989"/>
                  </a:ext>
                </a:extLst>
              </a:tr>
              <a:tr h="380208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>
                          <a:effectLst/>
                        </a:rPr>
                        <a:t>Zurückgelieferte Ergebnisse</a:t>
                      </a:r>
                      <a:endParaRPr lang="de-DE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 dirty="0">
                          <a:effectLst/>
                        </a:rPr>
                        <a:t>131</a:t>
                      </a:r>
                      <a:endParaRPr lang="de-DE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 dirty="0">
                          <a:effectLst/>
                        </a:rPr>
                        <a:t>75</a:t>
                      </a:r>
                      <a:endParaRPr lang="de-DE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 dirty="0">
                          <a:effectLst/>
                        </a:rPr>
                        <a:t>206</a:t>
                      </a:r>
                      <a:endParaRPr lang="de-DE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870755248"/>
                  </a:ext>
                </a:extLst>
              </a:tr>
              <a:tr h="380208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>
                          <a:effectLst/>
                        </a:rPr>
                        <a:t>Duplikats-Eliminierung</a:t>
                      </a:r>
                      <a:endParaRPr lang="de-DE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 dirty="0">
                          <a:effectLst/>
                        </a:rPr>
                        <a:t>-0</a:t>
                      </a:r>
                      <a:endParaRPr lang="de-DE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>
                          <a:effectLst/>
                        </a:rPr>
                        <a:t>-2</a:t>
                      </a:r>
                      <a:endParaRPr lang="de-DE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 dirty="0">
                          <a:effectLst/>
                        </a:rPr>
                        <a:t>204</a:t>
                      </a:r>
                      <a:endParaRPr lang="de-DE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699750848"/>
                  </a:ext>
                </a:extLst>
              </a:tr>
              <a:tr h="358097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 dirty="0">
                          <a:effectLst/>
                        </a:rPr>
                        <a:t>Titel-Eliminierung</a:t>
                      </a:r>
                      <a:endParaRPr lang="de-DE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 dirty="0">
                          <a:effectLst/>
                        </a:rPr>
                        <a:t>-115</a:t>
                      </a:r>
                      <a:endParaRPr lang="de-DE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>
                          <a:effectLst/>
                        </a:rPr>
                        <a:t>-66</a:t>
                      </a:r>
                      <a:endParaRPr lang="de-DE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 dirty="0">
                          <a:effectLst/>
                        </a:rPr>
                        <a:t>23</a:t>
                      </a:r>
                      <a:endParaRPr lang="de-DE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54505041"/>
                  </a:ext>
                </a:extLst>
              </a:tr>
              <a:tr h="380208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 dirty="0">
                          <a:effectLst/>
                        </a:rPr>
                        <a:t>Abstract-Eliminierung</a:t>
                      </a:r>
                      <a:endParaRPr lang="de-DE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 dirty="0">
                          <a:effectLst/>
                        </a:rPr>
                        <a:t>-3</a:t>
                      </a:r>
                      <a:endParaRPr lang="de-DE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>
                          <a:effectLst/>
                        </a:rPr>
                        <a:t>-5</a:t>
                      </a:r>
                      <a:endParaRPr lang="de-DE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 dirty="0">
                          <a:effectLst/>
                        </a:rPr>
                        <a:t>15</a:t>
                      </a:r>
                      <a:endParaRPr lang="de-DE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4175158"/>
                  </a:ext>
                </a:extLst>
              </a:tr>
              <a:tr h="380208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>
                          <a:effectLst/>
                        </a:rPr>
                        <a:t>Verfügbarkeits-Eliminierung</a:t>
                      </a:r>
                      <a:endParaRPr lang="de-DE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>
                          <a:effectLst/>
                        </a:rPr>
                        <a:t>-4</a:t>
                      </a:r>
                      <a:endParaRPr lang="de-DE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>
                          <a:effectLst/>
                        </a:rPr>
                        <a:t>-0</a:t>
                      </a:r>
                      <a:endParaRPr lang="de-DE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>
                          <a:effectLst/>
                        </a:rPr>
                        <a:t>11</a:t>
                      </a:r>
                      <a:endParaRPr lang="de-DE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4087116843"/>
                  </a:ext>
                </a:extLst>
              </a:tr>
              <a:tr h="380208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>
                          <a:effectLst/>
                        </a:rPr>
                        <a:t>Fulltext-Eliminierung</a:t>
                      </a:r>
                      <a:endParaRPr lang="de-DE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>
                          <a:effectLst/>
                        </a:rPr>
                        <a:t>-3</a:t>
                      </a:r>
                      <a:endParaRPr lang="de-DE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>
                          <a:effectLst/>
                        </a:rPr>
                        <a:t>-1</a:t>
                      </a:r>
                      <a:endParaRPr lang="de-DE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>
                          <a:effectLst/>
                        </a:rPr>
                        <a:t>7</a:t>
                      </a:r>
                      <a:endParaRPr lang="de-DE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313619573"/>
                  </a:ext>
                </a:extLst>
              </a:tr>
              <a:tr h="380208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>
                          <a:effectLst/>
                        </a:rPr>
                        <a:t>Forward &amp; Backward Search</a:t>
                      </a:r>
                      <a:endParaRPr lang="de-DE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>
                          <a:effectLst/>
                        </a:rPr>
                        <a:t>+1</a:t>
                      </a:r>
                      <a:endParaRPr lang="de-DE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>
                          <a:effectLst/>
                        </a:rPr>
                        <a:t>+2</a:t>
                      </a:r>
                      <a:endParaRPr lang="de-DE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 dirty="0">
                          <a:effectLst/>
                        </a:rPr>
                        <a:t>10</a:t>
                      </a:r>
                      <a:endParaRPr lang="de-DE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87829247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21404315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D936C244-156F-F494-F63E-FCD5DE1CE87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7276614-C801-48D1-BE5E-3E261D899ED8}" type="datetime4">
              <a:rPr lang="de-DE" smtClean="0"/>
              <a:t>19. Dezember 2022</a:t>
            </a:fld>
            <a:endParaRPr lang="de-DE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EB74BEF5-D342-3361-25A7-1A536EB22FD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… | Lehrstuhl für Digital Industrial Service Systems | &lt;Name des Dozenten&gt;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CD626FDD-8695-9313-B59B-0A8D506D78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8</a:t>
            </a:fld>
            <a:endParaRPr lang="de-DE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77E2A056-47E3-BECF-6928-761BE5284BDB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/>
        <p:txBody>
          <a:bodyPr/>
          <a:lstStyle/>
          <a:p>
            <a:r>
              <a:rPr lang="de-DE" sz="2000" u="sng" dirty="0">
                <a:solidFill>
                  <a:prstClr val="black"/>
                </a:solidFill>
                <a:latin typeface="Arial"/>
              </a:rPr>
              <a:t>Fairness schaffen</a:t>
            </a:r>
          </a:p>
          <a:p>
            <a:pPr marL="285750" marR="0" indent="-2857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Char char="-"/>
              <a:tabLst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npassung von Aufmerksamkeit auf kritische Attribute in KI-Modellen (</a:t>
            </a:r>
            <a:r>
              <a:rPr kumimoji="0" lang="de-DE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inareh</a:t>
            </a:r>
            <a:r>
              <a:rPr lang="de-DE" sz="1600" dirty="0">
                <a:solidFill>
                  <a:prstClr val="black"/>
                </a:solidFill>
                <a:latin typeface="Arial"/>
              </a:rPr>
              <a:t> </a:t>
            </a: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t al, 2021)</a:t>
            </a:r>
          </a:p>
          <a:p>
            <a:pPr marL="285750" marR="0" indent="-2857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Char char="-"/>
              <a:tabLst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Heuristiken für spezifische Fälle (</a:t>
            </a:r>
            <a:r>
              <a:rPr lang="de-DE" sz="1600" dirty="0" err="1"/>
              <a:t>Roselli</a:t>
            </a:r>
            <a:r>
              <a:rPr lang="de-DE" sz="1600" dirty="0">
                <a:solidFill>
                  <a:prstClr val="black"/>
                </a:solidFill>
                <a:latin typeface="Arial"/>
              </a:rPr>
              <a:t> </a:t>
            </a: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t al, 2019)</a:t>
            </a:r>
          </a:p>
          <a:p>
            <a:pPr marL="285750" marR="0" indent="-2857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Char char="-"/>
              <a:tabLst/>
            </a:pPr>
            <a:r>
              <a:rPr lang="de-DE" dirty="0">
                <a:solidFill>
                  <a:prstClr val="black"/>
                </a:solidFill>
                <a:latin typeface="Arial"/>
              </a:rPr>
              <a:t>„Data </a:t>
            </a:r>
            <a:r>
              <a:rPr lang="de-DE" dirty="0" err="1">
                <a:solidFill>
                  <a:prstClr val="black"/>
                </a:solidFill>
                <a:latin typeface="Arial"/>
              </a:rPr>
              <a:t>Wrangling</a:t>
            </a:r>
            <a:r>
              <a:rPr lang="de-DE" dirty="0">
                <a:solidFill>
                  <a:prstClr val="black"/>
                </a:solidFill>
                <a:latin typeface="Arial"/>
              </a:rPr>
              <a:t>“ (</a:t>
            </a:r>
            <a:r>
              <a:rPr lang="de-DE" dirty="0" err="1">
                <a:solidFill>
                  <a:prstClr val="black"/>
                </a:solidFill>
                <a:latin typeface="Arial"/>
              </a:rPr>
              <a:t>Mazilu</a:t>
            </a:r>
            <a:r>
              <a:rPr lang="de-DE" dirty="0">
                <a:solidFill>
                  <a:prstClr val="black"/>
                </a:solidFill>
                <a:latin typeface="Arial"/>
              </a:rPr>
              <a:t>, et al, 2020)</a:t>
            </a:r>
          </a:p>
          <a:p>
            <a:pPr marL="285750" indent="-285750">
              <a:lnSpc>
                <a:spcPct val="110000"/>
              </a:lnSpc>
              <a:spcAft>
                <a:spcPts val="1200"/>
              </a:spcAft>
              <a:buClr>
                <a:schemeClr val="tx1"/>
              </a:buClr>
              <a:buFontTx/>
              <a:buChar char="-"/>
            </a:pPr>
            <a:r>
              <a:rPr lang="de-DE" dirty="0">
                <a:solidFill>
                  <a:prstClr val="black"/>
                </a:solidFill>
                <a:latin typeface="Arial"/>
              </a:rPr>
              <a:t>Mathematische Methoden </a:t>
            </a: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(</a:t>
            </a:r>
            <a:r>
              <a:rPr lang="de-DE" sz="1600" dirty="0" err="1"/>
              <a:t>Kamiran</a:t>
            </a:r>
            <a:r>
              <a:rPr lang="de-DE" sz="1600" dirty="0"/>
              <a:t>,</a:t>
            </a:r>
            <a:r>
              <a:rPr lang="de-DE" sz="1600" dirty="0">
                <a:solidFill>
                  <a:prstClr val="black"/>
                </a:solidFill>
                <a:latin typeface="Arial"/>
              </a:rPr>
              <a:t> </a:t>
            </a: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t al, 2012)</a:t>
            </a:r>
            <a:b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r>
              <a:rPr lang="de-DE" sz="2000" u="sng" dirty="0">
                <a:solidFill>
                  <a:prstClr val="black"/>
                </a:solidFill>
                <a:latin typeface="Arial"/>
              </a:rPr>
              <a:t>Unfairness entdecken</a:t>
            </a:r>
          </a:p>
          <a:p>
            <a:pPr marL="285750" marR="0" indent="-2857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Char char="-"/>
              <a:tabLst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ransparenz und XAI (</a:t>
            </a:r>
            <a:r>
              <a:rPr lang="de-DE" sz="1600" dirty="0"/>
              <a:t>Robert</a:t>
            </a:r>
            <a:r>
              <a:rPr lang="de-DE" sz="1600" dirty="0">
                <a:solidFill>
                  <a:prstClr val="black"/>
                </a:solidFill>
                <a:latin typeface="Arial"/>
              </a:rPr>
              <a:t> </a:t>
            </a: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t al, 2020)</a:t>
            </a:r>
          </a:p>
          <a:p>
            <a:pPr marL="285750" marR="0" indent="-2857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Char char="-"/>
              <a:tabLst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tatistische Analysen (</a:t>
            </a:r>
            <a:r>
              <a:rPr lang="de-DE" sz="1600" dirty="0" err="1"/>
              <a:t>Dwork</a:t>
            </a:r>
            <a:r>
              <a:rPr lang="de-DE" sz="1600" dirty="0">
                <a:solidFill>
                  <a:prstClr val="black"/>
                </a:solidFill>
                <a:latin typeface="Arial"/>
              </a:rPr>
              <a:t> </a:t>
            </a: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t al, 2012)</a:t>
            </a:r>
          </a:p>
          <a:p>
            <a:pPr marL="285750" marR="0" indent="-2857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Char char="-"/>
              <a:tabLst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athematische Methoden (</a:t>
            </a:r>
            <a:r>
              <a:rPr lang="de-DE" sz="1600" dirty="0" err="1"/>
              <a:t>Kamiran</a:t>
            </a:r>
            <a:r>
              <a:rPr lang="de-DE" sz="1600" dirty="0"/>
              <a:t>,</a:t>
            </a:r>
            <a:r>
              <a:rPr lang="de-DE" sz="1600" dirty="0">
                <a:solidFill>
                  <a:prstClr val="black"/>
                </a:solidFill>
                <a:latin typeface="Arial"/>
              </a:rPr>
              <a:t> </a:t>
            </a: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t al, 2012)</a:t>
            </a:r>
          </a:p>
          <a:p>
            <a:endParaRPr lang="de-DE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FA09F377-470B-15F5-DDFE-DB2E66E5B4E3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Titel 6">
            <a:extLst>
              <a:ext uri="{FF2B5EF4-FFF2-40B4-BE49-F238E27FC236}">
                <a16:creationId xmlns:a16="http://schemas.microsoft.com/office/drawing/2014/main" id="{9EC1C8E7-BC8A-8CC7-2203-191781CFE84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Es gibt viele Ansätze, um Unfairness zu entdecken und Fairness zu schaffen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F8C3F681-8E9A-C6B1-6A73-0E49272B302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Methoden für Fair AI</a:t>
            </a:r>
          </a:p>
        </p:txBody>
      </p:sp>
    </p:spTree>
    <p:extLst>
      <p:ext uri="{BB962C8B-B14F-4D97-AF65-F5344CB8AC3E}">
        <p14:creationId xmlns:p14="http://schemas.microsoft.com/office/powerpoint/2010/main" val="420728991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itel 20">
            <a:extLst>
              <a:ext uri="{FF2B5EF4-FFF2-40B4-BE49-F238E27FC236}">
                <a16:creationId xmlns:a16="http://schemas.microsoft.com/office/drawing/2014/main" id="{3018BD05-96D8-43F2-A6AA-CC40E7C32CC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8318" y="3152001"/>
            <a:ext cx="11157743" cy="553998"/>
          </a:xfrm>
        </p:spPr>
        <p:txBody>
          <a:bodyPr/>
          <a:lstStyle/>
          <a:p>
            <a:r>
              <a:rPr lang="de-DE" dirty="0"/>
              <a:t>3. Forschungsfrage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FE7214E1-5D14-4D0B-BADD-2E239FECEC1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29D632-EE07-48FA-B475-B0D49CBC7F92}" type="datetime4">
              <a:rPr lang="de-DE" smtClean="0"/>
              <a:pPr/>
              <a:t>19. Dezember 2022</a:t>
            </a:fld>
            <a:endParaRPr lang="de-DE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6A6AD034-0F65-47AF-9CAA-C4B0CEB30D4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b="1" dirty="0"/>
              <a:t>Philippe Huber</a:t>
            </a:r>
            <a:r>
              <a:rPr lang="de-DE" dirty="0"/>
              <a:t>, Rene Jokiel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0F7E098-F740-40F7-A085-7034627D914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7524836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EE4P_STYLE_ID" val="96334d9f-9ba8-4fb0-901f-f28b51da46b8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FAU - Rechts- und Wirtschaftswissenschaftliche Fakultät">
  <a:themeElements>
    <a:clrScheme name="Benutzerdefiniert 2">
      <a:dk1>
        <a:sysClr val="windowText" lastClr="000000"/>
      </a:dk1>
      <a:lt1>
        <a:srgbClr val="FFFFFF"/>
      </a:lt1>
      <a:dk2>
        <a:srgbClr val="C50F3C"/>
      </a:dk2>
      <a:lt2>
        <a:srgbClr val="FFFFFF"/>
      </a:lt2>
      <a:accent1>
        <a:srgbClr val="C7C7C7"/>
      </a:accent1>
      <a:accent2>
        <a:srgbClr val="971B2F"/>
      </a:accent2>
      <a:accent3>
        <a:srgbClr val="C50F3C"/>
      </a:accent3>
      <a:accent4>
        <a:srgbClr val="EBCCB7"/>
      </a:accent4>
      <a:accent5>
        <a:srgbClr val="004A9F"/>
      </a:accent5>
      <a:accent6>
        <a:srgbClr val="04316A"/>
      </a:accent6>
      <a:hlink>
        <a:srgbClr val="971B2F"/>
      </a:hlink>
      <a:folHlink>
        <a:srgbClr val="000000"/>
      </a:folHlink>
    </a:clrScheme>
    <a:fontScheme name="FAU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6"/>
        </a:solidFill>
        <a:ln>
          <a:noFill/>
        </a:ln>
      </a:spPr>
      <a:bodyPr lIns="180000" tIns="180000" rIns="180000" bIns="180000" rtlCol="0" anchor="ctr"/>
      <a:lstStyle>
        <a:defPPr marL="0" marR="0" indent="0" algn="ctr" defTabSz="914400" rtl="0" eaLnBrk="1" fontAlgn="auto" latinLnBrk="0" hangingPunct="1">
          <a:lnSpc>
            <a:spcPct val="110000"/>
          </a:lnSpc>
          <a:spcBef>
            <a:spcPts val="0"/>
          </a:spcBef>
          <a:spcAft>
            <a:spcPts val="1200"/>
          </a:spcAft>
          <a:buClrTx/>
          <a:buSzTx/>
          <a:buFont typeface="Arial" panose="020B0604020202020204" pitchFamily="34" charset="0"/>
          <a:buNone/>
          <a:tabLst/>
          <a:defRPr kumimoji="0" sz="1600" b="0" i="0" u="none" strike="noStrike" kern="1200" cap="none" spc="0" normalizeH="0" baseline="0" noProof="0" dirty="0" smtClean="0">
            <a:ln>
              <a:noFill/>
            </a:ln>
            <a:solidFill>
              <a:schemeClr val="tx1"/>
            </a:solidFill>
            <a:effectLst/>
            <a:uLnTx/>
            <a:uFillTx/>
            <a:latin typeface="Arial"/>
            <a:ea typeface="+mn-ea"/>
            <a:cs typeface="+mn-cs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0" marR="0" indent="0" algn="l" defTabSz="914400" rtl="0" eaLnBrk="1" fontAlgn="auto" latinLnBrk="0" hangingPunct="1">
          <a:lnSpc>
            <a:spcPct val="110000"/>
          </a:lnSpc>
          <a:spcBef>
            <a:spcPts val="0"/>
          </a:spcBef>
          <a:spcAft>
            <a:spcPts val="1200"/>
          </a:spcAft>
          <a:buClrTx/>
          <a:buSzTx/>
          <a:buFont typeface="Arial" panose="020B0604020202020204" pitchFamily="34" charset="0"/>
          <a:buNone/>
          <a:tabLst/>
          <a:defRPr kumimoji="0" sz="1600" b="0" i="0" u="none" strike="noStrike" kern="1200" cap="none" spc="0" normalizeH="0" baseline="0" noProof="0" dirty="0" smtClean="0">
            <a:ln>
              <a:noFill/>
            </a:ln>
            <a:solidFill>
              <a:prstClr val="black"/>
            </a:solidFill>
            <a:effectLst/>
            <a:uLnTx/>
            <a:uFillTx/>
            <a:latin typeface="Arial"/>
            <a:ea typeface="+mn-ea"/>
            <a:cs typeface="+mn-cs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1408</Words>
  <Application>Microsoft Office PowerPoint</Application>
  <PresentationFormat>Breitbild</PresentationFormat>
  <Paragraphs>342</Paragraphs>
  <Slides>23</Slides>
  <Notes>0</Notes>
  <HiddenSlides>1</HiddenSlides>
  <MMClips>0</MMClips>
  <ScaleCrop>false</ScaleCrop>
  <HeadingPairs>
    <vt:vector size="8" baseType="variant">
      <vt:variant>
        <vt:lpstr>Verwendete Schriftarten</vt:lpstr>
      </vt:variant>
      <vt:variant>
        <vt:i4>3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23</vt:i4>
      </vt:variant>
    </vt:vector>
  </HeadingPairs>
  <TitlesOfParts>
    <vt:vector size="28" baseType="lpstr">
      <vt:lpstr>Arial</vt:lpstr>
      <vt:lpstr>Calibri</vt:lpstr>
      <vt:lpstr>Symbol</vt:lpstr>
      <vt:lpstr>FAU - Rechts- und Wirtschaftswissenschaftliche Fakultät</vt:lpstr>
      <vt:lpstr>think-cell Folie</vt:lpstr>
      <vt:lpstr>Zwischenpräsentation Team 6</vt:lpstr>
      <vt:lpstr>Agenda</vt:lpstr>
      <vt:lpstr>1. Problem</vt:lpstr>
      <vt:lpstr>Menschengemachte Datensätze enthalten oft Verzerrungen, die sich negativ auf die Fairness von KI auswirken</vt:lpstr>
      <vt:lpstr>2. Stand der Wissenschaft</vt:lpstr>
      <vt:lpstr>Wir haben 206 Suchergebnisse auf 10 für uns Relevante Quellen reduziert</vt:lpstr>
      <vt:lpstr>Wir haben 206 Suchergebnisse auf 10 für uns Relevante Quellen reduziert</vt:lpstr>
      <vt:lpstr>Es gibt viele Ansätze, um Unfairness zu entdecken und Fairness zu schaffen</vt:lpstr>
      <vt:lpstr>3. Forschungsfrage</vt:lpstr>
      <vt:lpstr>Wir wollen versuchen, absichtlich oder unabsichtlich verzerrte Datensätze zu erkennen</vt:lpstr>
      <vt:lpstr>4. Artefakt</vt:lpstr>
      <vt:lpstr>Wir entwickeln für unsere Forschungsfrage ein Artefakt</vt:lpstr>
      <vt:lpstr>Es müssen Metainformationen über die Daten übergeben werden</vt:lpstr>
      <vt:lpstr>Es gibt zwei mögliche Outputs</vt:lpstr>
      <vt:lpstr>Der gesamte Datensatz wird als Trainingsdatensatz verwendet</vt:lpstr>
      <vt:lpstr>Biases können direkt abgelesen werden</vt:lpstr>
      <vt:lpstr>5. Experimente</vt:lpstr>
      <vt:lpstr>Insgesamt werden 3 verschiedene Experimentarten durchgeführt</vt:lpstr>
      <vt:lpstr>Insgesamt werden 3 verschiedene Experimentarten durchgeführt</vt:lpstr>
      <vt:lpstr>6. Nächste Schritte</vt:lpstr>
      <vt:lpstr>Die Entwicklung des Artefaktes ist der unmittelbare nächste Schritt</vt:lpstr>
      <vt:lpstr>Die Entwicklung des Artefaktes ist der unmittelbare nächste Schritt</vt:lpstr>
      <vt:lpstr>PowerPoint-Prä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22-02-02T15:51:55Z</dcterms:created>
  <dcterms:modified xsi:type="dcterms:W3CDTF">2022-12-19T20:23:08Z</dcterms:modified>
</cp:coreProperties>
</file>